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85" r:id="rId1"/>
  </p:sldMasterIdLst>
  <p:notesMasterIdLst>
    <p:notesMasterId r:id="rId18"/>
  </p:notesMasterIdLst>
  <p:handoutMasterIdLst>
    <p:handoutMasterId r:id="rId19"/>
  </p:handoutMasterIdLst>
  <p:sldIdLst>
    <p:sldId id="278" r:id="rId2"/>
    <p:sldId id="622" r:id="rId3"/>
    <p:sldId id="664" r:id="rId4"/>
    <p:sldId id="659" r:id="rId5"/>
    <p:sldId id="665" r:id="rId6"/>
    <p:sldId id="619" r:id="rId7"/>
    <p:sldId id="609" r:id="rId8"/>
    <p:sldId id="670" r:id="rId9"/>
    <p:sldId id="671" r:id="rId10"/>
    <p:sldId id="673" r:id="rId11"/>
    <p:sldId id="674" r:id="rId12"/>
    <p:sldId id="675" r:id="rId13"/>
    <p:sldId id="676" r:id="rId14"/>
    <p:sldId id="677" r:id="rId15"/>
    <p:sldId id="678" r:id="rId16"/>
    <p:sldId id="679" r:id="rId17"/>
  </p:sldIdLst>
  <p:sldSz cx="15360650" cy="8640763"/>
  <p:notesSz cx="9926638" cy="679767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8D2A6B32-A863-43F4-9C2D-E74518D4B754}">
          <p14:sldIdLst>
            <p14:sldId id="278"/>
            <p14:sldId id="622"/>
            <p14:sldId id="664"/>
            <p14:sldId id="659"/>
            <p14:sldId id="665"/>
            <p14:sldId id="619"/>
            <p14:sldId id="609"/>
            <p14:sldId id="670"/>
            <p14:sldId id="671"/>
            <p14:sldId id="673"/>
            <p14:sldId id="674"/>
            <p14:sldId id="675"/>
            <p14:sldId id="676"/>
            <p14:sldId id="677"/>
            <p14:sldId id="678"/>
            <p14:sldId id="67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722" userDrawn="1">
          <p15:clr>
            <a:srgbClr val="A4A3A4"/>
          </p15:clr>
        </p15:guide>
        <p15:guide id="2" pos="4839" userDrawn="1">
          <p15:clr>
            <a:srgbClr val="A4A3A4"/>
          </p15:clr>
        </p15:guide>
        <p15:guide id="3" orient="horz" pos="5218" userDrawn="1">
          <p15:clr>
            <a:srgbClr val="A4A3A4"/>
          </p15:clr>
        </p15:guide>
        <p15:guide id="4" orient="horz" pos="1040" userDrawn="1">
          <p15:clr>
            <a:srgbClr val="A4A3A4"/>
          </p15:clr>
        </p15:guide>
        <p15:guide id="5" orient="horz" pos="548" userDrawn="1">
          <p15:clr>
            <a:srgbClr val="A4A3A4"/>
          </p15:clr>
        </p15:guide>
        <p15:guide id="6" pos="9461" userDrawn="1">
          <p15:clr>
            <a:srgbClr val="A4A3A4"/>
          </p15:clr>
        </p15:guide>
        <p15:guide id="7" pos="21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E4828"/>
    <a:srgbClr val="1888B9"/>
    <a:srgbClr val="E7F5FE"/>
    <a:srgbClr val="F8E9FB"/>
    <a:srgbClr val="A2C9F4"/>
    <a:srgbClr val="CE087E"/>
    <a:srgbClr val="2539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486" autoAdjust="0"/>
    <p:restoredTop sz="97292" autoAdjust="0"/>
  </p:normalViewPr>
  <p:slideViewPr>
    <p:cSldViewPr snapToGrid="0">
      <p:cViewPr varScale="1">
        <p:scale>
          <a:sx n="89" d="100"/>
          <a:sy n="89" d="100"/>
        </p:scale>
        <p:origin x="1014" y="90"/>
      </p:cViewPr>
      <p:guideLst>
        <p:guide orient="horz" pos="2722"/>
        <p:guide pos="4839"/>
        <p:guide orient="horz" pos="5218"/>
        <p:guide orient="horz" pos="1040"/>
        <p:guide orient="horz" pos="548"/>
        <p:guide pos="9461"/>
        <p:guide pos="21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B9599DF-0EC3-4A4F-9F46-C14A37683FFB}" type="doc">
      <dgm:prSet loTypeId="urn:microsoft.com/office/officeart/2009/3/layout/StepUpProcess" loCatId="process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613E19D-7EA0-496E-821A-FEFA5A11C785}">
      <dgm:prSet phldrT="[Текст]" custT="1"/>
      <dgm:spPr/>
      <dgm:t>
        <a:bodyPr/>
        <a:lstStyle/>
        <a:p>
          <a:r>
            <a:rPr lang="ru-RU" sz="2400" b="1" dirty="0" smtClean="0"/>
            <a:t>Финансовая поддержка </a:t>
          </a:r>
          <a:endParaRPr lang="ru-RU" sz="2400" dirty="0"/>
        </a:p>
      </dgm:t>
    </dgm:pt>
    <dgm:pt modelId="{D781038A-BCE0-431D-A756-95B10BA115A0}" type="parTrans" cxnId="{B6CB41D8-663A-49F0-88BC-81AF36632C0D}">
      <dgm:prSet/>
      <dgm:spPr/>
      <dgm:t>
        <a:bodyPr/>
        <a:lstStyle/>
        <a:p>
          <a:endParaRPr lang="ru-RU" sz="1600"/>
        </a:p>
      </dgm:t>
    </dgm:pt>
    <dgm:pt modelId="{1D5B9F63-47FF-42D7-8C73-0E3A31CED762}" type="sibTrans" cxnId="{B6CB41D8-663A-49F0-88BC-81AF36632C0D}">
      <dgm:prSet/>
      <dgm:spPr/>
      <dgm:t>
        <a:bodyPr/>
        <a:lstStyle/>
        <a:p>
          <a:endParaRPr lang="ru-RU" sz="1600"/>
        </a:p>
      </dgm:t>
    </dgm:pt>
    <dgm:pt modelId="{2C5D4E80-BB11-4264-82D6-A6B748517464}">
      <dgm:prSet phldrT="[Текст]" custT="1"/>
      <dgm:spPr/>
      <dgm:t>
        <a:bodyPr/>
        <a:lstStyle/>
        <a:p>
          <a:r>
            <a:rPr lang="ru-RU" sz="1800" b="1" i="1" dirty="0" smtClean="0">
              <a:latin typeface="Arial Narrow" panose="020B0606020202030204" pitchFamily="34" charset="0"/>
            </a:rPr>
            <a:t>предоставление поручительств в рамках «Программы 6,5%» с максимальным снижением ставки</a:t>
          </a:r>
          <a:endParaRPr lang="ru-RU" sz="1800" dirty="0"/>
        </a:p>
      </dgm:t>
    </dgm:pt>
    <dgm:pt modelId="{467BB588-B65C-472E-84FB-5F4A1963FDDF}" type="parTrans" cxnId="{51E782B7-2459-46B5-AE16-6ABAC1136D37}">
      <dgm:prSet/>
      <dgm:spPr/>
      <dgm:t>
        <a:bodyPr/>
        <a:lstStyle/>
        <a:p>
          <a:endParaRPr lang="ru-RU" sz="1600"/>
        </a:p>
      </dgm:t>
    </dgm:pt>
    <dgm:pt modelId="{6509B832-6AEF-40B8-B871-01FAF4B01E01}" type="sibTrans" cxnId="{51E782B7-2459-46B5-AE16-6ABAC1136D37}">
      <dgm:prSet/>
      <dgm:spPr/>
      <dgm:t>
        <a:bodyPr/>
        <a:lstStyle/>
        <a:p>
          <a:endParaRPr lang="ru-RU" sz="1600"/>
        </a:p>
      </dgm:t>
    </dgm:pt>
    <dgm:pt modelId="{A5E51A46-AC81-49E8-B05E-0AE802D95EC3}">
      <dgm:prSet custT="1"/>
      <dgm:spPr/>
      <dgm:t>
        <a:bodyPr/>
        <a:lstStyle/>
        <a:p>
          <a:r>
            <a:rPr lang="ru-RU" sz="1800" b="1" i="1" dirty="0" smtClean="0">
              <a:latin typeface="Arial Narrow" panose="020B0606020202030204" pitchFamily="34" charset="0"/>
            </a:rPr>
            <a:t>предоставление МСП-банком гарантий для участия в закупках и исполнения договоров в рамках Закона № 223-ФЗ</a:t>
          </a:r>
          <a:endParaRPr lang="ru-RU" sz="1800" b="1" i="1" dirty="0">
            <a:latin typeface="Arial Narrow" panose="020B0606020202030204" pitchFamily="34" charset="0"/>
          </a:endParaRPr>
        </a:p>
      </dgm:t>
    </dgm:pt>
    <dgm:pt modelId="{9057C7FD-DAF5-4C57-B867-E1AFAC4545B9}" type="parTrans" cxnId="{83CCEE61-0C89-4E7D-A73E-CD8726C916E6}">
      <dgm:prSet/>
      <dgm:spPr/>
      <dgm:t>
        <a:bodyPr/>
        <a:lstStyle/>
        <a:p>
          <a:endParaRPr lang="ru-RU" sz="1600"/>
        </a:p>
      </dgm:t>
    </dgm:pt>
    <dgm:pt modelId="{2BC8CD3F-39ED-4EB9-B9DF-138C311D65F1}" type="sibTrans" cxnId="{83CCEE61-0C89-4E7D-A73E-CD8726C916E6}">
      <dgm:prSet/>
      <dgm:spPr/>
      <dgm:t>
        <a:bodyPr/>
        <a:lstStyle/>
        <a:p>
          <a:endParaRPr lang="ru-RU" sz="1600"/>
        </a:p>
      </dgm:t>
    </dgm:pt>
    <dgm:pt modelId="{764122A8-D8D8-467B-BD87-CD8A762D3B06}">
      <dgm:prSet custT="1"/>
      <dgm:spPr/>
      <dgm:t>
        <a:bodyPr/>
        <a:lstStyle/>
        <a:p>
          <a:r>
            <a:rPr lang="ru-RU" sz="1800" b="1" i="1" dirty="0" smtClean="0">
              <a:latin typeface="Arial Narrow" panose="020B0606020202030204" pitchFamily="34" charset="0"/>
            </a:rPr>
            <a:t>прямое кредитование МСП-банком субъектов МСП в целях участия в закупках</a:t>
          </a:r>
          <a:endParaRPr lang="ru-RU" sz="1800" b="1" i="1" dirty="0">
            <a:latin typeface="Arial Narrow" panose="020B0606020202030204" pitchFamily="34" charset="0"/>
          </a:endParaRPr>
        </a:p>
      </dgm:t>
    </dgm:pt>
    <dgm:pt modelId="{6F94E432-E6D1-4DD4-8B33-EC40FABCCDC6}" type="parTrans" cxnId="{A4CA8557-BF9E-4EFD-A775-107267654787}">
      <dgm:prSet/>
      <dgm:spPr/>
      <dgm:t>
        <a:bodyPr/>
        <a:lstStyle/>
        <a:p>
          <a:endParaRPr lang="ru-RU" sz="1600"/>
        </a:p>
      </dgm:t>
    </dgm:pt>
    <dgm:pt modelId="{BB4E09DC-9F13-4033-B1D7-E584B316EDA2}" type="sibTrans" cxnId="{A4CA8557-BF9E-4EFD-A775-107267654787}">
      <dgm:prSet/>
      <dgm:spPr/>
      <dgm:t>
        <a:bodyPr/>
        <a:lstStyle/>
        <a:p>
          <a:endParaRPr lang="ru-RU" sz="1600"/>
        </a:p>
      </dgm:t>
    </dgm:pt>
    <dgm:pt modelId="{E9D703C4-AC68-4396-B614-6FD342E66D25}">
      <dgm:prSet custT="1"/>
      <dgm:spPr/>
      <dgm:t>
        <a:bodyPr/>
        <a:lstStyle/>
        <a:p>
          <a:r>
            <a:rPr lang="ru-RU" altLang="ru-RU" sz="1800" b="1" i="1" dirty="0" smtClean="0">
              <a:latin typeface="Arial Narrow" panose="020B0606020202030204" pitchFamily="34" charset="0"/>
            </a:rPr>
            <a:t>расширение сети банков-партнеров</a:t>
          </a:r>
          <a:endParaRPr lang="ru-RU" altLang="ru-RU" sz="1800" b="1" i="1" dirty="0">
            <a:latin typeface="Arial Narrow" panose="020B0606020202030204" pitchFamily="34" charset="0"/>
          </a:endParaRPr>
        </a:p>
      </dgm:t>
    </dgm:pt>
    <dgm:pt modelId="{ED96FF03-BD80-4C56-B758-7FD51FD4BA1A}" type="parTrans" cxnId="{5AFEC77B-E7D8-4421-9564-3B30CDA3D048}">
      <dgm:prSet/>
      <dgm:spPr/>
      <dgm:t>
        <a:bodyPr/>
        <a:lstStyle/>
        <a:p>
          <a:endParaRPr lang="ru-RU" sz="1600"/>
        </a:p>
      </dgm:t>
    </dgm:pt>
    <dgm:pt modelId="{ACD94E6A-8E0C-4AB2-858E-4322414E583B}" type="sibTrans" cxnId="{5AFEC77B-E7D8-4421-9564-3B30CDA3D048}">
      <dgm:prSet/>
      <dgm:spPr/>
      <dgm:t>
        <a:bodyPr/>
        <a:lstStyle/>
        <a:p>
          <a:endParaRPr lang="ru-RU" sz="1600"/>
        </a:p>
      </dgm:t>
    </dgm:pt>
    <dgm:pt modelId="{A644EA4F-993E-4616-9CB2-04C6FD45C40B}">
      <dgm:prSet phldrT="[Текст]" custT="1"/>
      <dgm:spPr/>
      <dgm:t>
        <a:bodyPr/>
        <a:lstStyle/>
        <a:p>
          <a:r>
            <a:rPr lang="ru-RU" sz="2400" b="1" dirty="0" smtClean="0"/>
            <a:t>Бизнес-навигатор</a:t>
          </a:r>
          <a:endParaRPr lang="ru-RU" sz="2400" dirty="0"/>
        </a:p>
      </dgm:t>
    </dgm:pt>
    <dgm:pt modelId="{8AA00EF6-64AD-4A96-AF14-F09311064080}" type="parTrans" cxnId="{EDAE83F3-C0F6-45E9-B197-F97DE57218F0}">
      <dgm:prSet/>
      <dgm:spPr/>
      <dgm:t>
        <a:bodyPr/>
        <a:lstStyle/>
        <a:p>
          <a:endParaRPr lang="ru-RU" sz="1600"/>
        </a:p>
      </dgm:t>
    </dgm:pt>
    <dgm:pt modelId="{FD367C3C-1385-4584-A969-A51B2B7DA564}" type="sibTrans" cxnId="{EDAE83F3-C0F6-45E9-B197-F97DE57218F0}">
      <dgm:prSet/>
      <dgm:spPr/>
      <dgm:t>
        <a:bodyPr/>
        <a:lstStyle/>
        <a:p>
          <a:endParaRPr lang="ru-RU" sz="1600"/>
        </a:p>
      </dgm:t>
    </dgm:pt>
    <dgm:pt modelId="{B767776A-464F-4486-90E8-CD8596A4F10B}">
      <dgm:prSet phldrT="[Текст]" custT="1"/>
      <dgm:spPr/>
      <dgm:t>
        <a:bodyPr/>
        <a:lstStyle/>
        <a:p>
          <a:r>
            <a:rPr lang="ru-RU" sz="1800" b="1" i="1" dirty="0" smtClean="0">
              <a:latin typeface="Arial Narrow" panose="020B0606020202030204" pitchFamily="34" charset="0"/>
            </a:rPr>
            <a:t>консолидация информации о всех формах поддержки (имущественной поддержке, специализированных продуктах банков, региональной инфраструктуре поддержки)</a:t>
          </a:r>
          <a:endParaRPr lang="ru-RU" sz="1800" b="1" dirty="0"/>
        </a:p>
      </dgm:t>
    </dgm:pt>
    <dgm:pt modelId="{7067DF76-53F6-47AD-A6E4-FBE701C34AE7}" type="parTrans" cxnId="{78A6999B-9424-4193-A903-8910CBD89B9A}">
      <dgm:prSet/>
      <dgm:spPr/>
      <dgm:t>
        <a:bodyPr/>
        <a:lstStyle/>
        <a:p>
          <a:endParaRPr lang="ru-RU" sz="1600"/>
        </a:p>
      </dgm:t>
    </dgm:pt>
    <dgm:pt modelId="{39D086A5-2F64-4E49-9C2F-1AD13091A1B2}" type="sibTrans" cxnId="{78A6999B-9424-4193-A903-8910CBD89B9A}">
      <dgm:prSet/>
      <dgm:spPr/>
      <dgm:t>
        <a:bodyPr/>
        <a:lstStyle/>
        <a:p>
          <a:endParaRPr lang="ru-RU" sz="1600"/>
        </a:p>
      </dgm:t>
    </dgm:pt>
    <dgm:pt modelId="{8AA417D0-952E-4DF9-B60E-A3471224042A}">
      <dgm:prSet custT="1"/>
      <dgm:spPr/>
      <dgm:t>
        <a:bodyPr/>
        <a:lstStyle/>
        <a:p>
          <a:r>
            <a:rPr lang="ru-RU" sz="1800" b="1" i="1" dirty="0" smtClean="0">
              <a:latin typeface="Arial Narrow" panose="020B0606020202030204" pitchFamily="34" charset="0"/>
            </a:rPr>
            <a:t>возможность выбора сферы бизнеса, города, района города, места расположения (территории);</a:t>
          </a:r>
          <a:endParaRPr lang="ru-RU" sz="1800" b="1" i="1" dirty="0">
            <a:latin typeface="Arial Narrow" panose="020B0606020202030204" pitchFamily="34" charset="0"/>
          </a:endParaRPr>
        </a:p>
      </dgm:t>
    </dgm:pt>
    <dgm:pt modelId="{B735580A-AA9A-4035-8B92-2E6EFE94F39E}" type="parTrans" cxnId="{CA82305A-1B4A-41F8-A3B1-401E6171DA45}">
      <dgm:prSet/>
      <dgm:spPr/>
      <dgm:t>
        <a:bodyPr/>
        <a:lstStyle/>
        <a:p>
          <a:endParaRPr lang="ru-RU" sz="1600"/>
        </a:p>
      </dgm:t>
    </dgm:pt>
    <dgm:pt modelId="{B9EC3B88-7305-45A5-B95F-8F37C0BC2D0E}" type="sibTrans" cxnId="{CA82305A-1B4A-41F8-A3B1-401E6171DA45}">
      <dgm:prSet/>
      <dgm:spPr/>
      <dgm:t>
        <a:bodyPr/>
        <a:lstStyle/>
        <a:p>
          <a:endParaRPr lang="ru-RU" sz="1600"/>
        </a:p>
      </dgm:t>
    </dgm:pt>
    <dgm:pt modelId="{802FBCCA-328F-4E80-BC46-EDE5779CDD9D}">
      <dgm:prSet custT="1"/>
      <dgm:spPr/>
      <dgm:t>
        <a:bodyPr/>
        <a:lstStyle/>
        <a:p>
          <a:r>
            <a:rPr lang="ru-RU" sz="1800" b="1" i="1" dirty="0" smtClean="0">
              <a:latin typeface="Arial Narrow" panose="020B0606020202030204" pitchFamily="34" charset="0"/>
            </a:rPr>
            <a:t>возможность разработки примерного бизнес-плана, привязанного к конкретному месту (территории), а также шаблона бизнес-плана для самостоятельного заполнения</a:t>
          </a:r>
          <a:endParaRPr lang="ru-RU" sz="1800" b="1" i="1" dirty="0">
            <a:latin typeface="Arial Narrow" panose="020B0606020202030204" pitchFamily="34" charset="0"/>
          </a:endParaRPr>
        </a:p>
      </dgm:t>
    </dgm:pt>
    <dgm:pt modelId="{AC026900-B46D-4A86-99EC-A488A35F0491}" type="parTrans" cxnId="{D4A43BF9-1A5E-4FA5-BC88-FE4B8C654894}">
      <dgm:prSet/>
      <dgm:spPr/>
      <dgm:t>
        <a:bodyPr/>
        <a:lstStyle/>
        <a:p>
          <a:endParaRPr lang="ru-RU" sz="1600"/>
        </a:p>
      </dgm:t>
    </dgm:pt>
    <dgm:pt modelId="{97032769-8BDA-4D52-938C-EF3633A65C6F}" type="sibTrans" cxnId="{D4A43BF9-1A5E-4FA5-BC88-FE4B8C654894}">
      <dgm:prSet/>
      <dgm:spPr/>
      <dgm:t>
        <a:bodyPr/>
        <a:lstStyle/>
        <a:p>
          <a:endParaRPr lang="ru-RU" sz="1600"/>
        </a:p>
      </dgm:t>
    </dgm:pt>
    <dgm:pt modelId="{45D59DD5-C5C2-4A70-88F9-4849DCD07457}">
      <dgm:prSet custT="1"/>
      <dgm:spPr/>
      <dgm:t>
        <a:bodyPr/>
        <a:lstStyle/>
        <a:p>
          <a:r>
            <a:rPr lang="ru-RU" sz="2400" b="1" dirty="0" smtClean="0"/>
            <a:t>Закупки</a:t>
          </a:r>
          <a:endParaRPr lang="ru-RU" altLang="ru-RU" sz="2400" b="1" dirty="0"/>
        </a:p>
      </dgm:t>
    </dgm:pt>
    <dgm:pt modelId="{E6A5E58B-B7B0-4783-88C8-7B37D44E9FD5}" type="parTrans" cxnId="{879E25B8-FB3F-4871-9B47-861D54E89456}">
      <dgm:prSet/>
      <dgm:spPr/>
      <dgm:t>
        <a:bodyPr/>
        <a:lstStyle/>
        <a:p>
          <a:endParaRPr lang="ru-RU" sz="1600"/>
        </a:p>
      </dgm:t>
    </dgm:pt>
    <dgm:pt modelId="{C8A6A5B8-1FA2-4292-BA52-22A1117B7510}" type="sibTrans" cxnId="{879E25B8-FB3F-4871-9B47-861D54E89456}">
      <dgm:prSet/>
      <dgm:spPr/>
      <dgm:t>
        <a:bodyPr/>
        <a:lstStyle/>
        <a:p>
          <a:endParaRPr lang="ru-RU" sz="1600"/>
        </a:p>
      </dgm:t>
    </dgm:pt>
    <dgm:pt modelId="{2114E43B-DAB3-4E77-A3AF-8042A384E6B5}">
      <dgm:prSet custT="1"/>
      <dgm:spPr/>
      <dgm:t>
        <a:bodyPr/>
        <a:lstStyle/>
        <a:p>
          <a:r>
            <a:rPr lang="ru-RU" sz="1800" b="1" i="1" dirty="0" smtClean="0">
              <a:latin typeface="Arial Narrow" panose="020B0606020202030204" pitchFamily="34" charset="0"/>
            </a:rPr>
            <a:t>формирование двухуровневой системы контроля закупок у субъектов МСП</a:t>
          </a:r>
          <a:endParaRPr lang="ru-RU" sz="1800" dirty="0"/>
        </a:p>
      </dgm:t>
    </dgm:pt>
    <dgm:pt modelId="{E9236A29-7511-47EA-9A06-9FED97B16777}" type="parTrans" cxnId="{159530A8-18B7-463B-801D-5A2EA443DCD7}">
      <dgm:prSet/>
      <dgm:spPr/>
      <dgm:t>
        <a:bodyPr/>
        <a:lstStyle/>
        <a:p>
          <a:endParaRPr lang="ru-RU" sz="1600"/>
        </a:p>
      </dgm:t>
    </dgm:pt>
    <dgm:pt modelId="{911D9964-5335-4FB9-B9E6-0F915C68D99F}" type="sibTrans" cxnId="{159530A8-18B7-463B-801D-5A2EA443DCD7}">
      <dgm:prSet/>
      <dgm:spPr/>
      <dgm:t>
        <a:bodyPr/>
        <a:lstStyle/>
        <a:p>
          <a:endParaRPr lang="ru-RU" sz="1600"/>
        </a:p>
      </dgm:t>
    </dgm:pt>
    <dgm:pt modelId="{07CEBCD6-247B-432D-8AA9-AB3E2B36D1EF}">
      <dgm:prSet custT="1"/>
      <dgm:spPr/>
      <dgm:t>
        <a:bodyPr/>
        <a:lstStyle/>
        <a:p>
          <a:r>
            <a:rPr lang="ru-RU" sz="1800" b="1" i="1" dirty="0" smtClean="0">
              <a:latin typeface="Arial Narrow" panose="020B0606020202030204" pitchFamily="34" charset="0"/>
            </a:rPr>
            <a:t>повышение информированности о номенклатуре закупок </a:t>
          </a:r>
          <a:endParaRPr lang="ru-RU" sz="1800" b="1" i="1" dirty="0">
            <a:latin typeface="Arial Narrow" panose="020B0606020202030204" pitchFamily="34" charset="0"/>
          </a:endParaRPr>
        </a:p>
      </dgm:t>
    </dgm:pt>
    <dgm:pt modelId="{45CF3356-AC80-49D8-8037-3DA6284520AC}" type="parTrans" cxnId="{A886627E-CFA8-42D5-A433-2576BED45F80}">
      <dgm:prSet/>
      <dgm:spPr/>
      <dgm:t>
        <a:bodyPr/>
        <a:lstStyle/>
        <a:p>
          <a:endParaRPr lang="ru-RU" sz="1600"/>
        </a:p>
      </dgm:t>
    </dgm:pt>
    <dgm:pt modelId="{CA0C820E-23A4-4139-B146-2A1F8AB3A666}" type="sibTrans" cxnId="{A886627E-CFA8-42D5-A433-2576BED45F80}">
      <dgm:prSet/>
      <dgm:spPr/>
      <dgm:t>
        <a:bodyPr/>
        <a:lstStyle/>
        <a:p>
          <a:endParaRPr lang="ru-RU" sz="1600"/>
        </a:p>
      </dgm:t>
    </dgm:pt>
    <dgm:pt modelId="{DAFC70B0-7964-43A5-A242-A963D5B4D25A}">
      <dgm:prSet custT="1"/>
      <dgm:spPr/>
      <dgm:t>
        <a:bodyPr/>
        <a:lstStyle/>
        <a:p>
          <a:r>
            <a:rPr lang="ru-RU" sz="1800" b="1" i="1" dirty="0" smtClean="0">
              <a:latin typeface="Arial Narrow" panose="020B0606020202030204" pitchFamily="34" charset="0"/>
            </a:rPr>
            <a:t>сокращенные сроки заключения договора и оплаты</a:t>
          </a:r>
          <a:endParaRPr lang="ru-RU" sz="1800" b="1" i="1" dirty="0">
            <a:latin typeface="Arial Narrow" panose="020B0606020202030204" pitchFamily="34" charset="0"/>
          </a:endParaRPr>
        </a:p>
      </dgm:t>
    </dgm:pt>
    <dgm:pt modelId="{DF4078E5-77D6-49EB-B63E-2686BE56B561}" type="parTrans" cxnId="{22CA76E3-74B9-4A30-B840-D4ED2B9AC14F}">
      <dgm:prSet/>
      <dgm:spPr/>
      <dgm:t>
        <a:bodyPr/>
        <a:lstStyle/>
        <a:p>
          <a:endParaRPr lang="ru-RU" sz="1600"/>
        </a:p>
      </dgm:t>
    </dgm:pt>
    <dgm:pt modelId="{1976A74C-0FDF-44FE-9711-6BB5482C6BCA}" type="sibTrans" cxnId="{22CA76E3-74B9-4A30-B840-D4ED2B9AC14F}">
      <dgm:prSet/>
      <dgm:spPr/>
      <dgm:t>
        <a:bodyPr/>
        <a:lstStyle/>
        <a:p>
          <a:endParaRPr lang="ru-RU" sz="1600"/>
        </a:p>
      </dgm:t>
    </dgm:pt>
    <dgm:pt modelId="{11781AA2-6844-418D-B284-3D7F5ED9C9BA}">
      <dgm:prSet custT="1"/>
      <dgm:spPr/>
      <dgm:t>
        <a:bodyPr/>
        <a:lstStyle/>
        <a:p>
          <a:r>
            <a:rPr lang="ru-RU" sz="1800" b="1" i="1" dirty="0" smtClean="0">
              <a:latin typeface="Arial Narrow" panose="020B0606020202030204" pitchFamily="34" charset="0"/>
            </a:rPr>
            <a:t>формирование достоверных данных с использованием Единого реестра субъектов МСП</a:t>
          </a:r>
        </a:p>
      </dgm:t>
    </dgm:pt>
    <dgm:pt modelId="{655BD57B-0317-421C-8D85-F2ED739AE456}" type="parTrans" cxnId="{5EFFAB3C-3A4D-49D6-BBBE-6FB46B5D4CE6}">
      <dgm:prSet/>
      <dgm:spPr/>
      <dgm:t>
        <a:bodyPr/>
        <a:lstStyle/>
        <a:p>
          <a:endParaRPr lang="ru-RU" sz="1600"/>
        </a:p>
      </dgm:t>
    </dgm:pt>
    <dgm:pt modelId="{AEBCA690-0081-4843-B928-01A29F6F2A20}" type="sibTrans" cxnId="{5EFFAB3C-3A4D-49D6-BBBE-6FB46B5D4CE6}">
      <dgm:prSet/>
      <dgm:spPr/>
      <dgm:t>
        <a:bodyPr/>
        <a:lstStyle/>
        <a:p>
          <a:endParaRPr lang="ru-RU" sz="1600"/>
        </a:p>
      </dgm:t>
    </dgm:pt>
    <dgm:pt modelId="{FF685096-039B-4488-87F9-6E2DA8814336}">
      <dgm:prSet custT="1"/>
      <dgm:spPr/>
      <dgm:t>
        <a:bodyPr/>
        <a:lstStyle/>
        <a:p>
          <a:r>
            <a:rPr lang="ru-RU" sz="1800" b="1" i="1" dirty="0" smtClean="0">
              <a:latin typeface="Arial Narrow" panose="020B0606020202030204" pitchFamily="34" charset="0"/>
            </a:rPr>
            <a:t>существенное наращивание объема закупок </a:t>
          </a:r>
          <a:endParaRPr lang="ru-RU" sz="1800" b="1" i="1" dirty="0">
            <a:latin typeface="Arial Narrow" panose="020B0606020202030204" pitchFamily="34" charset="0"/>
          </a:endParaRPr>
        </a:p>
      </dgm:t>
    </dgm:pt>
    <dgm:pt modelId="{36291D93-B86C-4961-9728-BC17FE163C06}" type="parTrans" cxnId="{740FDD99-323C-414D-BF8F-69DD842B82AE}">
      <dgm:prSet/>
      <dgm:spPr/>
      <dgm:t>
        <a:bodyPr/>
        <a:lstStyle/>
        <a:p>
          <a:endParaRPr lang="ru-RU" sz="1600"/>
        </a:p>
      </dgm:t>
    </dgm:pt>
    <dgm:pt modelId="{3A8F2BEE-D827-4E51-8357-8044B5A9DA8C}" type="sibTrans" cxnId="{740FDD99-323C-414D-BF8F-69DD842B82AE}">
      <dgm:prSet/>
      <dgm:spPr/>
      <dgm:t>
        <a:bodyPr/>
        <a:lstStyle/>
        <a:p>
          <a:endParaRPr lang="ru-RU" sz="1600"/>
        </a:p>
      </dgm:t>
    </dgm:pt>
    <dgm:pt modelId="{B0F906F3-89FD-425D-89E8-19F6303C882D}" type="pres">
      <dgm:prSet presAssocID="{FB9599DF-0EC3-4A4F-9F46-C14A37683FFB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D7B64D58-B0B5-4812-A9E8-014D2B0CFF08}" type="pres">
      <dgm:prSet presAssocID="{A644EA4F-993E-4616-9CB2-04C6FD45C40B}" presName="composite" presStyleCnt="0"/>
      <dgm:spPr/>
      <dgm:t>
        <a:bodyPr/>
        <a:lstStyle/>
        <a:p>
          <a:endParaRPr lang="ru-RU"/>
        </a:p>
      </dgm:t>
    </dgm:pt>
    <dgm:pt modelId="{ED958430-B882-4151-8B7D-DE8E335BC556}" type="pres">
      <dgm:prSet presAssocID="{A644EA4F-993E-4616-9CB2-04C6FD45C40B}" presName="LShape" presStyleLbl="alignNode1" presStyleIdx="0" presStyleCnt="5" custLinFactNeighborX="-1180" custLinFactNeighborY="-35756"/>
      <dgm:spPr>
        <a:solidFill>
          <a:schemeClr val="accent1">
            <a:lumMod val="50000"/>
          </a:schemeClr>
        </a:solidFill>
      </dgm:spPr>
      <dgm:t>
        <a:bodyPr/>
        <a:lstStyle/>
        <a:p>
          <a:endParaRPr lang="ru-RU"/>
        </a:p>
      </dgm:t>
    </dgm:pt>
    <dgm:pt modelId="{28E76D04-AE5F-4296-A637-8AE1A6573AF5}" type="pres">
      <dgm:prSet presAssocID="{A644EA4F-993E-4616-9CB2-04C6FD45C40B}" presName="ParentText" presStyleLbl="revTx" presStyleIdx="0" presStyleCnt="3" custScaleX="108319" custScaleY="149321" custLinFactX="100000" custLinFactNeighborX="153323" custLinFactNeighborY="-3887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EB561A4-32B5-433A-B81C-0F53835F9AF5}" type="pres">
      <dgm:prSet presAssocID="{A644EA4F-993E-4616-9CB2-04C6FD45C40B}" presName="Triangle" presStyleLbl="alignNode1" presStyleIdx="1" presStyleCnt="5" custLinFactNeighborX="-4750" custLinFactNeighborY="-76718"/>
      <dgm:spPr>
        <a:solidFill>
          <a:schemeClr val="accent1">
            <a:lumMod val="50000"/>
          </a:schemeClr>
        </a:solidFill>
      </dgm:spPr>
      <dgm:t>
        <a:bodyPr/>
        <a:lstStyle/>
        <a:p>
          <a:endParaRPr lang="ru-RU"/>
        </a:p>
      </dgm:t>
    </dgm:pt>
    <dgm:pt modelId="{5E6CACAA-27A9-448B-A9B0-AB52C39F6D75}" type="pres">
      <dgm:prSet presAssocID="{FD367C3C-1385-4584-A969-A51B2B7DA564}" presName="sibTrans" presStyleCnt="0"/>
      <dgm:spPr/>
      <dgm:t>
        <a:bodyPr/>
        <a:lstStyle/>
        <a:p>
          <a:endParaRPr lang="ru-RU"/>
        </a:p>
      </dgm:t>
    </dgm:pt>
    <dgm:pt modelId="{748EA0B1-8069-4CE5-BB54-ECFAD2DBD3C2}" type="pres">
      <dgm:prSet presAssocID="{FD367C3C-1385-4584-A969-A51B2B7DA564}" presName="space" presStyleCnt="0"/>
      <dgm:spPr/>
      <dgm:t>
        <a:bodyPr/>
        <a:lstStyle/>
        <a:p>
          <a:endParaRPr lang="ru-RU"/>
        </a:p>
      </dgm:t>
    </dgm:pt>
    <dgm:pt modelId="{A1FE5191-3EA7-48A8-866B-982F1A4861DE}" type="pres">
      <dgm:prSet presAssocID="{2613E19D-7EA0-496E-821A-FEFA5A11C785}" presName="composite" presStyleCnt="0"/>
      <dgm:spPr/>
      <dgm:t>
        <a:bodyPr/>
        <a:lstStyle/>
        <a:p>
          <a:endParaRPr lang="ru-RU"/>
        </a:p>
      </dgm:t>
    </dgm:pt>
    <dgm:pt modelId="{63A4408E-C28D-4D58-9CF1-7BB4C1376C36}" type="pres">
      <dgm:prSet presAssocID="{2613E19D-7EA0-496E-821A-FEFA5A11C785}" presName="LShape" presStyleLbl="alignNode1" presStyleIdx="2" presStyleCnt="5" custLinFactNeighborX="-2920" custLinFactNeighborY="13725"/>
      <dgm:spPr>
        <a:solidFill>
          <a:schemeClr val="accent1">
            <a:lumMod val="50000"/>
          </a:schemeClr>
        </a:solidFill>
      </dgm:spPr>
      <dgm:t>
        <a:bodyPr/>
        <a:lstStyle/>
        <a:p>
          <a:endParaRPr lang="ru-RU"/>
        </a:p>
      </dgm:t>
    </dgm:pt>
    <dgm:pt modelId="{86E707FA-5D30-43DF-82C4-99681D91A324}" type="pres">
      <dgm:prSet presAssocID="{2613E19D-7EA0-496E-821A-FEFA5A11C785}" presName="ParentText" presStyleLbl="revTx" presStyleIdx="1" presStyleCnt="3" custScaleX="111335" custScaleY="121755" custLinFactNeighborX="3512" custLinFactNeighborY="2083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C140670-9859-48D8-B279-853084DC0CB2}" type="pres">
      <dgm:prSet presAssocID="{2613E19D-7EA0-496E-821A-FEFA5A11C785}" presName="Triangle" presStyleLbl="alignNode1" presStyleIdx="3" presStyleCnt="5" custLinFactY="151" custLinFactNeighborX="-13412" custLinFactNeighborY="100000"/>
      <dgm:spPr>
        <a:solidFill>
          <a:schemeClr val="accent1">
            <a:lumMod val="50000"/>
          </a:schemeClr>
        </a:solidFill>
      </dgm:spPr>
      <dgm:t>
        <a:bodyPr/>
        <a:lstStyle/>
        <a:p>
          <a:endParaRPr lang="ru-RU"/>
        </a:p>
      </dgm:t>
    </dgm:pt>
    <dgm:pt modelId="{DE862C55-D8D3-4CDE-AD24-D748C432E0A0}" type="pres">
      <dgm:prSet presAssocID="{1D5B9F63-47FF-42D7-8C73-0E3A31CED762}" presName="sibTrans" presStyleCnt="0"/>
      <dgm:spPr/>
      <dgm:t>
        <a:bodyPr/>
        <a:lstStyle/>
        <a:p>
          <a:endParaRPr lang="ru-RU"/>
        </a:p>
      </dgm:t>
    </dgm:pt>
    <dgm:pt modelId="{1D79FCC2-EEAF-4EC0-8B42-93F28387BD22}" type="pres">
      <dgm:prSet presAssocID="{1D5B9F63-47FF-42D7-8C73-0E3A31CED762}" presName="space" presStyleCnt="0"/>
      <dgm:spPr/>
      <dgm:t>
        <a:bodyPr/>
        <a:lstStyle/>
        <a:p>
          <a:endParaRPr lang="ru-RU"/>
        </a:p>
      </dgm:t>
    </dgm:pt>
    <dgm:pt modelId="{01771AB3-33A4-4185-877F-C69F52F3BEF2}" type="pres">
      <dgm:prSet presAssocID="{45D59DD5-C5C2-4A70-88F9-4849DCD07457}" presName="composite" presStyleCnt="0"/>
      <dgm:spPr/>
      <dgm:t>
        <a:bodyPr/>
        <a:lstStyle/>
        <a:p>
          <a:endParaRPr lang="ru-RU"/>
        </a:p>
      </dgm:t>
    </dgm:pt>
    <dgm:pt modelId="{0F103ED9-900E-4496-AD21-48A8787B6E90}" type="pres">
      <dgm:prSet presAssocID="{45D59DD5-C5C2-4A70-88F9-4849DCD07457}" presName="LShape" presStyleLbl="alignNode1" presStyleIdx="4" presStyleCnt="5" custLinFactNeighborX="-4131" custLinFactNeighborY="20631"/>
      <dgm:spPr>
        <a:solidFill>
          <a:schemeClr val="accent1">
            <a:lumMod val="50000"/>
          </a:schemeClr>
        </a:solidFill>
      </dgm:spPr>
      <dgm:t>
        <a:bodyPr/>
        <a:lstStyle/>
        <a:p>
          <a:endParaRPr lang="ru-RU"/>
        </a:p>
      </dgm:t>
    </dgm:pt>
    <dgm:pt modelId="{CA95B99F-D861-445D-BCAB-41E5FA170828}" type="pres">
      <dgm:prSet presAssocID="{45D59DD5-C5C2-4A70-88F9-4849DCD07457}" presName="ParentText" presStyleLbl="revTx" presStyleIdx="2" presStyleCnt="3" custScaleY="102112" custLinFactX="-100000" custLinFactNeighborX="-152666" custLinFactNeighborY="5768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CD99E00-5900-45E2-BA7B-0240DA855129}" type="presOf" srcId="{2613E19D-7EA0-496E-821A-FEFA5A11C785}" destId="{86E707FA-5D30-43DF-82C4-99681D91A324}" srcOrd="0" destOrd="0" presId="urn:microsoft.com/office/officeart/2009/3/layout/StepUpProcess"/>
    <dgm:cxn modelId="{A886627E-CFA8-42D5-A433-2576BED45F80}" srcId="{45D59DD5-C5C2-4A70-88F9-4849DCD07457}" destId="{07CEBCD6-247B-432D-8AA9-AB3E2B36D1EF}" srcOrd="1" destOrd="0" parTransId="{45CF3356-AC80-49D8-8037-3DA6284520AC}" sibTransId="{CA0C820E-23A4-4139-B146-2A1F8AB3A666}"/>
    <dgm:cxn modelId="{AFCBCFDF-8055-4C23-BB90-F5A16C099C39}" type="presOf" srcId="{11781AA2-6844-418D-B284-3D7F5ED9C9BA}" destId="{CA95B99F-D861-445D-BCAB-41E5FA170828}" srcOrd="0" destOrd="4" presId="urn:microsoft.com/office/officeart/2009/3/layout/StepUpProcess"/>
    <dgm:cxn modelId="{8EDF58AA-76C0-4FF5-944A-CEC65E2F20EC}" type="presOf" srcId="{B767776A-464F-4486-90E8-CD8596A4F10B}" destId="{28E76D04-AE5F-4296-A637-8AE1A6573AF5}" srcOrd="0" destOrd="1" presId="urn:microsoft.com/office/officeart/2009/3/layout/StepUpProcess"/>
    <dgm:cxn modelId="{18EA9C0A-908E-4A04-B45A-1CEA945DBFB1}" type="presOf" srcId="{FF685096-039B-4488-87F9-6E2DA8814336}" destId="{CA95B99F-D861-445D-BCAB-41E5FA170828}" srcOrd="0" destOrd="5" presId="urn:microsoft.com/office/officeart/2009/3/layout/StepUpProcess"/>
    <dgm:cxn modelId="{83CCEE61-0C89-4E7D-A73E-CD8726C916E6}" srcId="{2613E19D-7EA0-496E-821A-FEFA5A11C785}" destId="{A5E51A46-AC81-49E8-B05E-0AE802D95EC3}" srcOrd="1" destOrd="0" parTransId="{9057C7FD-DAF5-4C57-B867-E1AFAC4545B9}" sibTransId="{2BC8CD3F-39ED-4EB9-B9DF-138C311D65F1}"/>
    <dgm:cxn modelId="{45E4D00E-1974-4023-A1FB-699280F4D067}" type="presOf" srcId="{8AA417D0-952E-4DF9-B60E-A3471224042A}" destId="{28E76D04-AE5F-4296-A637-8AE1A6573AF5}" srcOrd="0" destOrd="2" presId="urn:microsoft.com/office/officeart/2009/3/layout/StepUpProcess"/>
    <dgm:cxn modelId="{74262E00-07C5-4FDA-ADBD-E6C880B91FC6}" type="presOf" srcId="{07CEBCD6-247B-432D-8AA9-AB3E2B36D1EF}" destId="{CA95B99F-D861-445D-BCAB-41E5FA170828}" srcOrd="0" destOrd="2" presId="urn:microsoft.com/office/officeart/2009/3/layout/StepUpProcess"/>
    <dgm:cxn modelId="{51E782B7-2459-46B5-AE16-6ABAC1136D37}" srcId="{2613E19D-7EA0-496E-821A-FEFA5A11C785}" destId="{2C5D4E80-BB11-4264-82D6-A6B748517464}" srcOrd="0" destOrd="0" parTransId="{467BB588-B65C-472E-84FB-5F4A1963FDDF}" sibTransId="{6509B832-6AEF-40B8-B871-01FAF4B01E01}"/>
    <dgm:cxn modelId="{F5DD7A86-A02F-48DC-AA14-C4A384E4D0B7}" type="presOf" srcId="{FB9599DF-0EC3-4A4F-9F46-C14A37683FFB}" destId="{B0F906F3-89FD-425D-89E8-19F6303C882D}" srcOrd="0" destOrd="0" presId="urn:microsoft.com/office/officeart/2009/3/layout/StepUpProcess"/>
    <dgm:cxn modelId="{5A6D4253-2225-4126-955F-65FA6E2E709B}" type="presOf" srcId="{E9D703C4-AC68-4396-B614-6FD342E66D25}" destId="{86E707FA-5D30-43DF-82C4-99681D91A324}" srcOrd="0" destOrd="4" presId="urn:microsoft.com/office/officeart/2009/3/layout/StepUpProcess"/>
    <dgm:cxn modelId="{A4CA8557-BF9E-4EFD-A775-107267654787}" srcId="{2613E19D-7EA0-496E-821A-FEFA5A11C785}" destId="{764122A8-D8D8-467B-BD87-CD8A762D3B06}" srcOrd="2" destOrd="0" parTransId="{6F94E432-E6D1-4DD4-8B33-EC40FABCCDC6}" sibTransId="{BB4E09DC-9F13-4033-B1D7-E584B316EDA2}"/>
    <dgm:cxn modelId="{D4A43BF9-1A5E-4FA5-BC88-FE4B8C654894}" srcId="{A644EA4F-993E-4616-9CB2-04C6FD45C40B}" destId="{802FBCCA-328F-4E80-BC46-EDE5779CDD9D}" srcOrd="2" destOrd="0" parTransId="{AC026900-B46D-4A86-99EC-A488A35F0491}" sibTransId="{97032769-8BDA-4D52-938C-EF3633A65C6F}"/>
    <dgm:cxn modelId="{224D3B73-492F-4767-AE23-7DBA991E09EA}" type="presOf" srcId="{DAFC70B0-7964-43A5-A242-A963D5B4D25A}" destId="{CA95B99F-D861-445D-BCAB-41E5FA170828}" srcOrd="0" destOrd="3" presId="urn:microsoft.com/office/officeart/2009/3/layout/StepUpProcess"/>
    <dgm:cxn modelId="{740FDD99-323C-414D-BF8F-69DD842B82AE}" srcId="{45D59DD5-C5C2-4A70-88F9-4849DCD07457}" destId="{FF685096-039B-4488-87F9-6E2DA8814336}" srcOrd="4" destOrd="0" parTransId="{36291D93-B86C-4961-9728-BC17FE163C06}" sibTransId="{3A8F2BEE-D827-4E51-8357-8044B5A9DA8C}"/>
    <dgm:cxn modelId="{A983E1FC-890C-4FB4-AA61-B88A42FEDA9A}" type="presOf" srcId="{764122A8-D8D8-467B-BD87-CD8A762D3B06}" destId="{86E707FA-5D30-43DF-82C4-99681D91A324}" srcOrd="0" destOrd="3" presId="urn:microsoft.com/office/officeart/2009/3/layout/StepUpProcess"/>
    <dgm:cxn modelId="{6C4CE825-767A-4756-8474-07242FDE37D7}" type="presOf" srcId="{802FBCCA-328F-4E80-BC46-EDE5779CDD9D}" destId="{28E76D04-AE5F-4296-A637-8AE1A6573AF5}" srcOrd="0" destOrd="3" presId="urn:microsoft.com/office/officeart/2009/3/layout/StepUpProcess"/>
    <dgm:cxn modelId="{5AFEC77B-E7D8-4421-9564-3B30CDA3D048}" srcId="{2613E19D-7EA0-496E-821A-FEFA5A11C785}" destId="{E9D703C4-AC68-4396-B614-6FD342E66D25}" srcOrd="3" destOrd="0" parTransId="{ED96FF03-BD80-4C56-B758-7FD51FD4BA1A}" sibTransId="{ACD94E6A-8E0C-4AB2-858E-4322414E583B}"/>
    <dgm:cxn modelId="{0E5AEE0E-D919-49A6-81C0-EA351776CA86}" type="presOf" srcId="{2C5D4E80-BB11-4264-82D6-A6B748517464}" destId="{86E707FA-5D30-43DF-82C4-99681D91A324}" srcOrd="0" destOrd="1" presId="urn:microsoft.com/office/officeart/2009/3/layout/StepUpProcess"/>
    <dgm:cxn modelId="{C2AE0770-FBD4-4F2C-9E1C-129FFA703643}" type="presOf" srcId="{A5E51A46-AC81-49E8-B05E-0AE802D95EC3}" destId="{86E707FA-5D30-43DF-82C4-99681D91A324}" srcOrd="0" destOrd="2" presId="urn:microsoft.com/office/officeart/2009/3/layout/StepUpProcess"/>
    <dgm:cxn modelId="{B6CB41D8-663A-49F0-88BC-81AF36632C0D}" srcId="{FB9599DF-0EC3-4A4F-9F46-C14A37683FFB}" destId="{2613E19D-7EA0-496E-821A-FEFA5A11C785}" srcOrd="1" destOrd="0" parTransId="{D781038A-BCE0-431D-A756-95B10BA115A0}" sibTransId="{1D5B9F63-47FF-42D7-8C73-0E3A31CED762}"/>
    <dgm:cxn modelId="{448D961A-AFB6-445A-9DC3-FE3F2A114B8C}" type="presOf" srcId="{2114E43B-DAB3-4E77-A3AF-8042A384E6B5}" destId="{CA95B99F-D861-445D-BCAB-41E5FA170828}" srcOrd="0" destOrd="1" presId="urn:microsoft.com/office/officeart/2009/3/layout/StepUpProcess"/>
    <dgm:cxn modelId="{EDAE83F3-C0F6-45E9-B197-F97DE57218F0}" srcId="{FB9599DF-0EC3-4A4F-9F46-C14A37683FFB}" destId="{A644EA4F-993E-4616-9CB2-04C6FD45C40B}" srcOrd="0" destOrd="0" parTransId="{8AA00EF6-64AD-4A96-AF14-F09311064080}" sibTransId="{FD367C3C-1385-4584-A969-A51B2B7DA564}"/>
    <dgm:cxn modelId="{BFDD1695-FE43-49E6-9F18-0F0DF70452F9}" type="presOf" srcId="{45D59DD5-C5C2-4A70-88F9-4849DCD07457}" destId="{CA95B99F-D861-445D-BCAB-41E5FA170828}" srcOrd="0" destOrd="0" presId="urn:microsoft.com/office/officeart/2009/3/layout/StepUpProcess"/>
    <dgm:cxn modelId="{357007FB-FFF9-4D5A-95D0-50144812D2E8}" type="presOf" srcId="{A644EA4F-993E-4616-9CB2-04C6FD45C40B}" destId="{28E76D04-AE5F-4296-A637-8AE1A6573AF5}" srcOrd="0" destOrd="0" presId="urn:microsoft.com/office/officeart/2009/3/layout/StepUpProcess"/>
    <dgm:cxn modelId="{CA82305A-1B4A-41F8-A3B1-401E6171DA45}" srcId="{A644EA4F-993E-4616-9CB2-04C6FD45C40B}" destId="{8AA417D0-952E-4DF9-B60E-A3471224042A}" srcOrd="1" destOrd="0" parTransId="{B735580A-AA9A-4035-8B92-2E6EFE94F39E}" sibTransId="{B9EC3B88-7305-45A5-B95F-8F37C0BC2D0E}"/>
    <dgm:cxn modelId="{78A6999B-9424-4193-A903-8910CBD89B9A}" srcId="{A644EA4F-993E-4616-9CB2-04C6FD45C40B}" destId="{B767776A-464F-4486-90E8-CD8596A4F10B}" srcOrd="0" destOrd="0" parTransId="{7067DF76-53F6-47AD-A6E4-FBE701C34AE7}" sibTransId="{39D086A5-2F64-4E49-9C2F-1AD13091A1B2}"/>
    <dgm:cxn modelId="{159530A8-18B7-463B-801D-5A2EA443DCD7}" srcId="{45D59DD5-C5C2-4A70-88F9-4849DCD07457}" destId="{2114E43B-DAB3-4E77-A3AF-8042A384E6B5}" srcOrd="0" destOrd="0" parTransId="{E9236A29-7511-47EA-9A06-9FED97B16777}" sibTransId="{911D9964-5335-4FB9-B9E6-0F915C68D99F}"/>
    <dgm:cxn modelId="{879E25B8-FB3F-4871-9B47-861D54E89456}" srcId="{FB9599DF-0EC3-4A4F-9F46-C14A37683FFB}" destId="{45D59DD5-C5C2-4A70-88F9-4849DCD07457}" srcOrd="2" destOrd="0" parTransId="{E6A5E58B-B7B0-4783-88C8-7B37D44E9FD5}" sibTransId="{C8A6A5B8-1FA2-4292-BA52-22A1117B7510}"/>
    <dgm:cxn modelId="{22CA76E3-74B9-4A30-B840-D4ED2B9AC14F}" srcId="{45D59DD5-C5C2-4A70-88F9-4849DCD07457}" destId="{DAFC70B0-7964-43A5-A242-A963D5B4D25A}" srcOrd="2" destOrd="0" parTransId="{DF4078E5-77D6-49EB-B63E-2686BE56B561}" sibTransId="{1976A74C-0FDF-44FE-9711-6BB5482C6BCA}"/>
    <dgm:cxn modelId="{5EFFAB3C-3A4D-49D6-BBBE-6FB46B5D4CE6}" srcId="{45D59DD5-C5C2-4A70-88F9-4849DCD07457}" destId="{11781AA2-6844-418D-B284-3D7F5ED9C9BA}" srcOrd="3" destOrd="0" parTransId="{655BD57B-0317-421C-8D85-F2ED739AE456}" sibTransId="{AEBCA690-0081-4843-B928-01A29F6F2A20}"/>
    <dgm:cxn modelId="{0AC7892E-5665-4A4C-927D-40DE152518EE}" type="presParOf" srcId="{B0F906F3-89FD-425D-89E8-19F6303C882D}" destId="{D7B64D58-B0B5-4812-A9E8-014D2B0CFF08}" srcOrd="0" destOrd="0" presId="urn:microsoft.com/office/officeart/2009/3/layout/StepUpProcess"/>
    <dgm:cxn modelId="{D7127897-EA02-4A8E-BBB3-5D9901BFACC7}" type="presParOf" srcId="{D7B64D58-B0B5-4812-A9E8-014D2B0CFF08}" destId="{ED958430-B882-4151-8B7D-DE8E335BC556}" srcOrd="0" destOrd="0" presId="urn:microsoft.com/office/officeart/2009/3/layout/StepUpProcess"/>
    <dgm:cxn modelId="{99F8A809-565F-42D2-8648-52853E0A1EE7}" type="presParOf" srcId="{D7B64D58-B0B5-4812-A9E8-014D2B0CFF08}" destId="{28E76D04-AE5F-4296-A637-8AE1A6573AF5}" srcOrd="1" destOrd="0" presId="urn:microsoft.com/office/officeart/2009/3/layout/StepUpProcess"/>
    <dgm:cxn modelId="{B2AF9361-B229-47C4-ABF4-7FCA63BFBFE9}" type="presParOf" srcId="{D7B64D58-B0B5-4812-A9E8-014D2B0CFF08}" destId="{6EB561A4-32B5-433A-B81C-0F53835F9AF5}" srcOrd="2" destOrd="0" presId="urn:microsoft.com/office/officeart/2009/3/layout/StepUpProcess"/>
    <dgm:cxn modelId="{D024D5EA-0807-4228-BD48-23FBCABC2E9D}" type="presParOf" srcId="{B0F906F3-89FD-425D-89E8-19F6303C882D}" destId="{5E6CACAA-27A9-448B-A9B0-AB52C39F6D75}" srcOrd="1" destOrd="0" presId="urn:microsoft.com/office/officeart/2009/3/layout/StepUpProcess"/>
    <dgm:cxn modelId="{F08F0B7D-222A-49AD-825C-7B4FB8BE0342}" type="presParOf" srcId="{5E6CACAA-27A9-448B-A9B0-AB52C39F6D75}" destId="{748EA0B1-8069-4CE5-BB54-ECFAD2DBD3C2}" srcOrd="0" destOrd="0" presId="urn:microsoft.com/office/officeart/2009/3/layout/StepUpProcess"/>
    <dgm:cxn modelId="{AAA2F953-1E0C-4B26-81CE-C5264991B4E7}" type="presParOf" srcId="{B0F906F3-89FD-425D-89E8-19F6303C882D}" destId="{A1FE5191-3EA7-48A8-866B-982F1A4861DE}" srcOrd="2" destOrd="0" presId="urn:microsoft.com/office/officeart/2009/3/layout/StepUpProcess"/>
    <dgm:cxn modelId="{AEF8EF52-A669-4EB4-A71E-2527CB859CC1}" type="presParOf" srcId="{A1FE5191-3EA7-48A8-866B-982F1A4861DE}" destId="{63A4408E-C28D-4D58-9CF1-7BB4C1376C36}" srcOrd="0" destOrd="0" presId="urn:microsoft.com/office/officeart/2009/3/layout/StepUpProcess"/>
    <dgm:cxn modelId="{AF600124-E927-4A92-A1B9-0461E9BF0D03}" type="presParOf" srcId="{A1FE5191-3EA7-48A8-866B-982F1A4861DE}" destId="{86E707FA-5D30-43DF-82C4-99681D91A324}" srcOrd="1" destOrd="0" presId="urn:microsoft.com/office/officeart/2009/3/layout/StepUpProcess"/>
    <dgm:cxn modelId="{3A2EF84F-FD82-4F61-A1F1-A48A87F23FE2}" type="presParOf" srcId="{A1FE5191-3EA7-48A8-866B-982F1A4861DE}" destId="{6C140670-9859-48D8-B279-853084DC0CB2}" srcOrd="2" destOrd="0" presId="urn:microsoft.com/office/officeart/2009/3/layout/StepUpProcess"/>
    <dgm:cxn modelId="{90CD7D9F-DF03-4E10-A776-B2D751EBBAFE}" type="presParOf" srcId="{B0F906F3-89FD-425D-89E8-19F6303C882D}" destId="{DE862C55-D8D3-4CDE-AD24-D748C432E0A0}" srcOrd="3" destOrd="0" presId="urn:microsoft.com/office/officeart/2009/3/layout/StepUpProcess"/>
    <dgm:cxn modelId="{966EE685-90B6-443E-8574-640B9F1323D2}" type="presParOf" srcId="{DE862C55-D8D3-4CDE-AD24-D748C432E0A0}" destId="{1D79FCC2-EEAF-4EC0-8B42-93F28387BD22}" srcOrd="0" destOrd="0" presId="urn:microsoft.com/office/officeart/2009/3/layout/StepUpProcess"/>
    <dgm:cxn modelId="{A4B34F53-B4A9-4045-A6E4-824DC5B4ECAC}" type="presParOf" srcId="{B0F906F3-89FD-425D-89E8-19F6303C882D}" destId="{01771AB3-33A4-4185-877F-C69F52F3BEF2}" srcOrd="4" destOrd="0" presId="urn:microsoft.com/office/officeart/2009/3/layout/StepUpProcess"/>
    <dgm:cxn modelId="{40A49BBE-FDAB-4012-BD84-72C88A6CA007}" type="presParOf" srcId="{01771AB3-33A4-4185-877F-C69F52F3BEF2}" destId="{0F103ED9-900E-4496-AD21-48A8787B6E90}" srcOrd="0" destOrd="0" presId="urn:microsoft.com/office/officeart/2009/3/layout/StepUpProcess"/>
    <dgm:cxn modelId="{A936969B-DA5D-4E6E-8CC7-50A2D529B830}" type="presParOf" srcId="{01771AB3-33A4-4185-877F-C69F52F3BEF2}" destId="{CA95B99F-D861-445D-BCAB-41E5FA170828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DAA0281-2B20-4953-8A21-A3CA9F6309B4}" type="doc">
      <dgm:prSet loTypeId="urn:microsoft.com/office/officeart/2005/8/layout/hierarchy4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148AC73A-69DB-429B-8F21-ADE0797B8776}" type="pres">
      <dgm:prSet presAssocID="{CDAA0281-2B20-4953-8A21-A3CA9F6309B4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</dgm:ptLst>
  <dgm:cxnLst>
    <dgm:cxn modelId="{31901FD9-5C45-4D03-A2F7-3932C775AFB0}" type="presOf" srcId="{CDAA0281-2B20-4953-8A21-A3CA9F6309B4}" destId="{148AC73A-69DB-429B-8F21-ADE0797B8776}" srcOrd="0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D958430-B882-4151-8B7D-DE8E335BC556}">
      <dsp:nvSpPr>
        <dsp:cNvPr id="0" name=""/>
        <dsp:cNvSpPr/>
      </dsp:nvSpPr>
      <dsp:spPr>
        <a:xfrm rot="5400000">
          <a:off x="954303" y="939168"/>
          <a:ext cx="2473145" cy="4115258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lumMod val="5000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8E76D04-AE5F-4296-A637-8AE1A6573AF5}">
      <dsp:nvSpPr>
        <dsp:cNvPr id="0" name=""/>
        <dsp:cNvSpPr/>
      </dsp:nvSpPr>
      <dsp:spPr>
        <a:xfrm>
          <a:off x="9847150" y="984037"/>
          <a:ext cx="4024352" cy="48628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/>
            <a:t>Бизнес-навигатор</a:t>
          </a:r>
          <a:endParaRPr lang="ru-RU" sz="24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i="1" kern="1200" dirty="0" smtClean="0">
              <a:latin typeface="Arial Narrow" panose="020B0606020202030204" pitchFamily="34" charset="0"/>
            </a:rPr>
            <a:t>консолидация информации о всех формах поддержки (имущественной поддержке, специализированных продуктах банков, региональной инфраструктуре поддержки)</a:t>
          </a:r>
          <a:endParaRPr lang="ru-RU" sz="1800" b="1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i="1" kern="1200" dirty="0" smtClean="0">
              <a:latin typeface="Arial Narrow" panose="020B0606020202030204" pitchFamily="34" charset="0"/>
            </a:rPr>
            <a:t>возможность выбора сферы бизнеса, города, района города, места расположения (территории);</a:t>
          </a:r>
          <a:endParaRPr lang="ru-RU" sz="1800" b="1" i="1" kern="1200" dirty="0">
            <a:latin typeface="Arial Narrow" panose="020B0606020202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i="1" kern="1200" dirty="0" smtClean="0">
              <a:latin typeface="Arial Narrow" panose="020B0606020202030204" pitchFamily="34" charset="0"/>
            </a:rPr>
            <a:t>возможность разработки примерного бизнес-плана, привязанного к конкретному месту (территории), а также шаблона бизнес-плана для самостоятельного заполнения</a:t>
          </a:r>
          <a:endParaRPr lang="ru-RU" sz="1800" b="1" i="1" kern="1200" dirty="0">
            <a:latin typeface="Arial Narrow" panose="020B0606020202030204" pitchFamily="34" charset="0"/>
          </a:endParaRPr>
        </a:p>
      </dsp:txBody>
      <dsp:txXfrm>
        <a:off x="9847150" y="984037"/>
        <a:ext cx="4024352" cy="4862876"/>
      </dsp:txXfrm>
    </dsp:sp>
    <dsp:sp modelId="{6EB561A4-32B5-433A-B81C-0F53835F9AF5}">
      <dsp:nvSpPr>
        <dsp:cNvPr id="0" name=""/>
        <dsp:cNvSpPr/>
      </dsp:nvSpPr>
      <dsp:spPr>
        <a:xfrm>
          <a:off x="3571018" y="982706"/>
          <a:ext cx="700995" cy="700995"/>
        </a:xfrm>
        <a:prstGeom prst="triangle">
          <a:avLst>
            <a:gd name="adj" fmla="val 100000"/>
          </a:avLst>
        </a:prstGeom>
        <a:solidFill>
          <a:schemeClr val="accent1">
            <a:lumMod val="5000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3A4408E-C28D-4D58-9CF1-7BB4C1376C36}">
      <dsp:nvSpPr>
        <dsp:cNvPr id="0" name=""/>
        <dsp:cNvSpPr/>
      </dsp:nvSpPr>
      <dsp:spPr>
        <a:xfrm rot="5400000">
          <a:off x="5585460" y="683199"/>
          <a:ext cx="2473145" cy="4115258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lumMod val="5000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6E707FA-5D30-43DF-82C4-99681D91A324}">
      <dsp:nvSpPr>
        <dsp:cNvPr id="0" name=""/>
        <dsp:cNvSpPr/>
      </dsp:nvSpPr>
      <dsp:spPr>
        <a:xfrm>
          <a:off x="5212714" y="1897650"/>
          <a:ext cx="4136405" cy="39651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/>
            <a:t>Финансовая поддержка </a:t>
          </a:r>
          <a:endParaRPr lang="ru-RU" sz="24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i="1" kern="1200" dirty="0" smtClean="0">
              <a:latin typeface="Arial Narrow" panose="020B0606020202030204" pitchFamily="34" charset="0"/>
            </a:rPr>
            <a:t>предоставление поручительств в рамках «Программы 6,5%» с максимальным снижением ставки</a:t>
          </a:r>
          <a:endParaRPr lang="ru-RU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i="1" kern="1200" dirty="0" smtClean="0">
              <a:latin typeface="Arial Narrow" panose="020B0606020202030204" pitchFamily="34" charset="0"/>
            </a:rPr>
            <a:t>предоставление МСП-банком гарантий для участия в закупках и исполнения договоров в рамках Закона № 223-ФЗ</a:t>
          </a:r>
          <a:endParaRPr lang="ru-RU" sz="1800" b="1" i="1" kern="1200" dirty="0">
            <a:latin typeface="Arial Narrow" panose="020B0606020202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i="1" kern="1200" dirty="0" smtClean="0">
              <a:latin typeface="Arial Narrow" panose="020B0606020202030204" pitchFamily="34" charset="0"/>
            </a:rPr>
            <a:t>прямое кредитование МСП-банком субъектов МСП в целях участия в закупках</a:t>
          </a:r>
          <a:endParaRPr lang="ru-RU" sz="1800" b="1" i="1" kern="1200" dirty="0">
            <a:latin typeface="Arial Narrow" panose="020B0606020202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altLang="ru-RU" sz="1800" b="1" i="1" kern="1200" dirty="0" smtClean="0">
              <a:latin typeface="Arial Narrow" panose="020B0606020202030204" pitchFamily="34" charset="0"/>
            </a:rPr>
            <a:t>расширение сети банков-партнеров</a:t>
          </a:r>
          <a:endParaRPr lang="ru-RU" altLang="ru-RU" sz="1800" b="1" i="1" kern="1200" dirty="0">
            <a:latin typeface="Arial Narrow" panose="020B0606020202030204" pitchFamily="34" charset="0"/>
          </a:endParaRPr>
        </a:p>
      </dsp:txBody>
      <dsp:txXfrm>
        <a:off x="5212714" y="1897650"/>
        <a:ext cx="4136405" cy="3965145"/>
      </dsp:txXfrm>
    </dsp:sp>
    <dsp:sp modelId="{6C140670-9859-48D8-B279-853084DC0CB2}">
      <dsp:nvSpPr>
        <dsp:cNvPr id="0" name=""/>
        <dsp:cNvSpPr/>
      </dsp:nvSpPr>
      <dsp:spPr>
        <a:xfrm>
          <a:off x="8213061" y="742844"/>
          <a:ext cx="700995" cy="700995"/>
        </a:xfrm>
        <a:prstGeom prst="triangle">
          <a:avLst>
            <a:gd name="adj" fmla="val 100000"/>
          </a:avLst>
        </a:prstGeom>
        <a:solidFill>
          <a:schemeClr val="accent1">
            <a:lumMod val="5000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F103ED9-900E-4496-AD21-48A8787B6E90}">
      <dsp:nvSpPr>
        <dsp:cNvPr id="0" name=""/>
        <dsp:cNvSpPr/>
      </dsp:nvSpPr>
      <dsp:spPr>
        <a:xfrm rot="5400000">
          <a:off x="10238388" y="-305858"/>
          <a:ext cx="2473145" cy="4115258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lumMod val="5000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A95B99F-D861-445D-BCAB-41E5FA170828}">
      <dsp:nvSpPr>
        <dsp:cNvPr id="0" name=""/>
        <dsp:cNvSpPr/>
      </dsp:nvSpPr>
      <dsp:spPr>
        <a:xfrm>
          <a:off x="608315" y="2257565"/>
          <a:ext cx="3715278" cy="33254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/>
            <a:t>Закупки</a:t>
          </a:r>
          <a:endParaRPr lang="ru-RU" altLang="ru-RU" sz="2400" b="1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i="1" kern="1200" dirty="0" smtClean="0">
              <a:latin typeface="Arial Narrow" panose="020B0606020202030204" pitchFamily="34" charset="0"/>
            </a:rPr>
            <a:t>формирование двухуровневой системы контроля закупок у субъектов МСП</a:t>
          </a:r>
          <a:endParaRPr lang="ru-RU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i="1" kern="1200" dirty="0" smtClean="0">
              <a:latin typeface="Arial Narrow" panose="020B0606020202030204" pitchFamily="34" charset="0"/>
            </a:rPr>
            <a:t>повышение информированности о номенклатуре закупок </a:t>
          </a:r>
          <a:endParaRPr lang="ru-RU" sz="1800" b="1" i="1" kern="1200" dirty="0">
            <a:latin typeface="Arial Narrow" panose="020B0606020202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i="1" kern="1200" dirty="0" smtClean="0">
              <a:latin typeface="Arial Narrow" panose="020B0606020202030204" pitchFamily="34" charset="0"/>
            </a:rPr>
            <a:t>сокращенные сроки заключения договора и оплаты</a:t>
          </a:r>
          <a:endParaRPr lang="ru-RU" sz="1800" b="1" i="1" kern="1200" dirty="0">
            <a:latin typeface="Arial Narrow" panose="020B0606020202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i="1" kern="1200" dirty="0" smtClean="0">
              <a:latin typeface="Arial Narrow" panose="020B0606020202030204" pitchFamily="34" charset="0"/>
            </a:rPr>
            <a:t>формирование достоверных данных с использованием Единого реестра субъектов МСП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1" i="1" kern="1200" dirty="0" smtClean="0">
              <a:latin typeface="Arial Narrow" panose="020B0606020202030204" pitchFamily="34" charset="0"/>
            </a:rPr>
            <a:t>существенное наращивание объема закупок </a:t>
          </a:r>
          <a:endParaRPr lang="ru-RU" sz="1800" b="1" i="1" kern="1200" dirty="0">
            <a:latin typeface="Arial Narrow" panose="020B0606020202030204" pitchFamily="34" charset="0"/>
          </a:endParaRPr>
        </a:p>
      </dsp:txBody>
      <dsp:txXfrm>
        <a:off x="608315" y="2257565"/>
        <a:ext cx="3715278" cy="332543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22799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1D71B2-C074-4B13-AB67-B32509399B4C}" type="datetimeFigureOut">
              <a:rPr lang="ru-RU" smtClean="0"/>
              <a:pPr/>
              <a:t>14.06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22799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BA3FB5-6A54-469C-AF8A-E30B739F1A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793744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2799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A4A145-E748-45E6-9541-8C569DD64A20}" type="datetimeFigureOut">
              <a:rPr lang="ru-RU" smtClean="0"/>
              <a:pPr/>
              <a:t>14.06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50900"/>
            <a:ext cx="4075112" cy="2292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665" y="3271381"/>
            <a:ext cx="794131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2799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4FF0B7-6C7A-444D-BC86-99C02D58423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8136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1pPr>
    <a:lvl2pPr marL="4739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2pPr>
    <a:lvl3pPr marL="947867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3pPr>
    <a:lvl4pPr marL="14218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4pPr>
    <a:lvl5pPr marL="18957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5pPr>
    <a:lvl6pPr marL="23696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6pPr>
    <a:lvl7pPr marL="28436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7pPr>
    <a:lvl8pPr marL="3317535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8pPr>
    <a:lvl9pPr marL="37914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925763" y="850900"/>
            <a:ext cx="4075112" cy="22923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4FF0B7-6C7A-444D-BC86-99C02D58423E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13889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925763" y="850900"/>
            <a:ext cx="4075112" cy="22923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72827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77937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4017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BAE1577-3A23-435E-8456-B20EE4B5C2CF}" type="slidenum">
              <a:rPr lang="ru-RU"/>
              <a:pPr/>
              <a:t>7</a:t>
            </a:fld>
            <a:endParaRPr lang="ru-RU" dirty="0"/>
          </a:p>
        </p:txBody>
      </p:sp>
      <p:sp>
        <p:nvSpPr>
          <p:cNvPr id="1815554" name="Rectangle 7"/>
          <p:cNvSpPr txBox="1">
            <a:spLocks noGrp="1" noChangeArrowheads="1"/>
          </p:cNvSpPr>
          <p:nvPr/>
        </p:nvSpPr>
        <p:spPr bwMode="auto">
          <a:xfrm>
            <a:off x="5621698" y="6456700"/>
            <a:ext cx="4302625" cy="339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9" tIns="45704" rIns="91409" bIns="45704" anchor="b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fld id="{6B434C67-FE62-4AB2-B74E-CF3DBFFBEB76}" type="slidenum">
              <a:rPr lang="ru-RU" sz="1200"/>
              <a:pPr algn="r"/>
              <a:t>7</a:t>
            </a:fld>
            <a:endParaRPr lang="ru-RU" sz="1200" dirty="0"/>
          </a:p>
        </p:txBody>
      </p:sp>
      <p:sp>
        <p:nvSpPr>
          <p:cNvPr id="1815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01925" y="511175"/>
            <a:ext cx="4530725" cy="2547938"/>
          </a:xfrm>
          <a:ln/>
        </p:spPr>
      </p:sp>
      <p:sp>
        <p:nvSpPr>
          <p:cNvPr id="18155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92204" y="3229444"/>
            <a:ext cx="7942238" cy="3058954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17841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E4FF0B7-6C7A-444D-BC86-99C02D58423E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0871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4FF0B7-6C7A-444D-BC86-99C02D58423E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340972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20081" y="1414125"/>
            <a:ext cx="11520488" cy="3008266"/>
          </a:xfrm>
        </p:spPr>
        <p:txBody>
          <a:bodyPr anchor="b"/>
          <a:lstStyle>
            <a:lvl1pPr algn="ctr">
              <a:defRPr sz="7559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20081" y="4538401"/>
            <a:ext cx="11520488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26" indent="0" algn="ctr">
              <a:buNone/>
              <a:defRPr sz="2520"/>
            </a:lvl2pPr>
            <a:lvl3pPr marL="1152053" indent="0" algn="ctr">
              <a:buNone/>
              <a:defRPr sz="2268"/>
            </a:lvl3pPr>
            <a:lvl4pPr marL="1728079" indent="0" algn="ctr">
              <a:buNone/>
              <a:defRPr sz="2016"/>
            </a:lvl4pPr>
            <a:lvl5pPr marL="2304105" indent="0" algn="ctr">
              <a:buNone/>
              <a:defRPr sz="2016"/>
            </a:lvl5pPr>
            <a:lvl6pPr marL="2880131" indent="0" algn="ctr">
              <a:buNone/>
              <a:defRPr sz="2016"/>
            </a:lvl6pPr>
            <a:lvl7pPr marL="3456158" indent="0" algn="ctr">
              <a:buNone/>
              <a:defRPr sz="2016"/>
            </a:lvl7pPr>
            <a:lvl8pPr marL="4032184" indent="0" algn="ctr">
              <a:buNone/>
              <a:defRPr sz="2016"/>
            </a:lvl8pPr>
            <a:lvl9pPr marL="4608210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FA94D-C25F-4CCC-8DFA-2DD3C1B362B1}" type="datetime1">
              <a:rPr lang="ru-RU" smtClean="0"/>
              <a:t>14.06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10077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91F4CD-F5EC-4D43-B0F2-0C5C6D9AF715}" type="datetime1">
              <a:rPr lang="ru-RU" smtClean="0"/>
              <a:t>14.06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32449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992465" y="460041"/>
            <a:ext cx="3312140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56045" y="460041"/>
            <a:ext cx="9744412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27DBB9-72CE-45BA-A57E-EC2CD90B430E}" type="datetime1">
              <a:rPr lang="ru-RU" smtClean="0"/>
              <a:t>14.06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89371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ятиугольник 10"/>
          <p:cNvSpPr/>
          <p:nvPr userDrawn="1"/>
        </p:nvSpPr>
        <p:spPr bwMode="auto">
          <a:xfrm>
            <a:off x="-1204035" y="307270"/>
            <a:ext cx="1204042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before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7" name="AutoShape 12"/>
          <p:cNvSpPr>
            <a:spLocks noChangeArrowheads="1"/>
          </p:cNvSpPr>
          <p:nvPr userDrawn="1"/>
        </p:nvSpPr>
        <p:spPr bwMode="auto">
          <a:xfrm>
            <a:off x="-19405" y="8659114"/>
            <a:ext cx="1076128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Lef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1" name="Пятиугольник 20"/>
          <p:cNvSpPr/>
          <p:nvPr userDrawn="1"/>
        </p:nvSpPr>
        <p:spPr bwMode="auto">
          <a:xfrm>
            <a:off x="-1223455" y="2030490"/>
            <a:ext cx="1204042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 hasCustomPrompt="1"/>
          </p:nvPr>
        </p:nvSpPr>
        <p:spPr>
          <a:xfrm>
            <a:off x="9" y="1164689"/>
            <a:ext cx="13575103" cy="57689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426034" indent="0">
              <a:buNone/>
              <a:defRPr sz="2357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Enter your subheadline here</a:t>
            </a:r>
            <a:endParaRPr lang="ru-RU" dirty="0" smtClean="0"/>
          </a:p>
        </p:txBody>
      </p:sp>
      <p:sp>
        <p:nvSpPr>
          <p:cNvPr id="13" name="Заголовок 12"/>
          <p:cNvSpPr>
            <a:spLocks noGrp="1"/>
          </p:cNvSpPr>
          <p:nvPr>
            <p:ph type="title" hasCustomPrompt="1"/>
          </p:nvPr>
        </p:nvSpPr>
        <p:spPr>
          <a:xfrm>
            <a:off x="9" y="422706"/>
            <a:ext cx="13575103" cy="731100"/>
          </a:xfrm>
          <a:prstGeom prst="rect">
            <a:avLst/>
          </a:prstGeom>
        </p:spPr>
        <p:txBody>
          <a:bodyPr lIns="89904" tIns="0" rIns="91344" bIns="0" anchor="b" anchorCtr="0">
            <a:normAutofit/>
          </a:bodyPr>
          <a:lstStyle>
            <a:lvl1pPr>
              <a:defRPr sz="2592" b="1">
                <a:solidFill>
                  <a:srgbClr val="232323"/>
                </a:solidFill>
              </a:defRPr>
            </a:lvl1pPr>
          </a:lstStyle>
          <a:p>
            <a:r>
              <a:rPr lang="en-US" dirty="0" smtClean="0"/>
              <a:t>Enter your headline here</a:t>
            </a:r>
            <a:endParaRPr lang="ru-RU" dirty="0"/>
          </a:p>
        </p:txBody>
      </p:sp>
      <p:sp>
        <p:nvSpPr>
          <p:cNvPr id="33" name="Пятиугольник 32"/>
          <p:cNvSpPr/>
          <p:nvPr userDrawn="1"/>
        </p:nvSpPr>
        <p:spPr bwMode="auto">
          <a:xfrm>
            <a:off x="-1204034" y="8120992"/>
            <a:ext cx="1184634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aft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AutoShape 12"/>
          <p:cNvSpPr>
            <a:spLocks noChangeArrowheads="1"/>
          </p:cNvSpPr>
          <p:nvPr userDrawn="1"/>
        </p:nvSpPr>
        <p:spPr bwMode="auto">
          <a:xfrm>
            <a:off x="14286699" y="8661767"/>
            <a:ext cx="1076128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Righ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6" name="AutoShape 12"/>
          <p:cNvSpPr>
            <a:spLocks noChangeArrowheads="1"/>
          </p:cNvSpPr>
          <p:nvPr userDrawn="1"/>
        </p:nvSpPr>
        <p:spPr bwMode="auto">
          <a:xfrm>
            <a:off x="1226954" y="8658343"/>
            <a:ext cx="1076128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7" name="AutoShape 12"/>
          <p:cNvSpPr>
            <a:spLocks noChangeArrowheads="1"/>
          </p:cNvSpPr>
          <p:nvPr userDrawn="1"/>
        </p:nvSpPr>
        <p:spPr bwMode="auto">
          <a:xfrm>
            <a:off x="13057571" y="8658343"/>
            <a:ext cx="1076128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9" name="Пятиугольник 18"/>
          <p:cNvSpPr/>
          <p:nvPr userDrawn="1"/>
        </p:nvSpPr>
        <p:spPr bwMode="auto">
          <a:xfrm>
            <a:off x="-1223454" y="7199196"/>
            <a:ext cx="1204042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13595637" y="7963674"/>
            <a:ext cx="1229127" cy="27274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lang="ru-RU" sz="1296" smtClean="0">
                <a:solidFill>
                  <a:schemeClr val="accent1"/>
                </a:solidFill>
              </a:defRPr>
            </a:lvl1pPr>
          </a:lstStyle>
          <a:p>
            <a:fld id="{BDBB2107-50E8-4020-A265-E2E05D6FF44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81522" y="134021"/>
            <a:ext cx="2426911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8645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DEFBEA-0D8C-44F4-9DC4-425DC9CB45BF}" type="datetime1">
              <a:rPr lang="ru-RU" smtClean="0"/>
              <a:t>14.06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40258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8044" y="2154191"/>
            <a:ext cx="13248561" cy="3594317"/>
          </a:xfrm>
        </p:spPr>
        <p:txBody>
          <a:bodyPr anchor="b"/>
          <a:lstStyle>
            <a:lvl1pPr>
              <a:defRPr sz="7559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48044" y="5782512"/>
            <a:ext cx="13248561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>
                    <a:tint val="75000"/>
                  </a:schemeClr>
                </a:solidFill>
              </a:defRPr>
            </a:lvl1pPr>
            <a:lvl2pPr marL="576026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053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079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105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131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15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18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21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C8DDFF-4DC0-4249-930E-0F3FD2D975B8}" type="datetime1">
              <a:rPr lang="ru-RU" smtClean="0"/>
              <a:t>14.06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63484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56045" y="2300203"/>
            <a:ext cx="6528276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776329" y="2300203"/>
            <a:ext cx="6528276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C9F970-0A99-4F05-9CC3-BCDB09507058}" type="datetime1">
              <a:rPr lang="ru-RU" smtClean="0"/>
              <a:t>14.06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87698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8045" y="460041"/>
            <a:ext cx="13248561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58046" y="2118188"/>
            <a:ext cx="6498274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26" indent="0">
              <a:buNone/>
              <a:defRPr sz="2520" b="1"/>
            </a:lvl2pPr>
            <a:lvl3pPr marL="1152053" indent="0">
              <a:buNone/>
              <a:defRPr sz="2268" b="1"/>
            </a:lvl3pPr>
            <a:lvl4pPr marL="1728079" indent="0">
              <a:buNone/>
              <a:defRPr sz="2016" b="1"/>
            </a:lvl4pPr>
            <a:lvl5pPr marL="2304105" indent="0">
              <a:buNone/>
              <a:defRPr sz="2016" b="1"/>
            </a:lvl5pPr>
            <a:lvl6pPr marL="2880131" indent="0">
              <a:buNone/>
              <a:defRPr sz="2016" b="1"/>
            </a:lvl6pPr>
            <a:lvl7pPr marL="3456158" indent="0">
              <a:buNone/>
              <a:defRPr sz="2016" b="1"/>
            </a:lvl7pPr>
            <a:lvl8pPr marL="4032184" indent="0">
              <a:buNone/>
              <a:defRPr sz="2016" b="1"/>
            </a:lvl8pPr>
            <a:lvl9pPr marL="4608210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58046" y="3156278"/>
            <a:ext cx="6498274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776329" y="2118188"/>
            <a:ext cx="6530277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26" indent="0">
              <a:buNone/>
              <a:defRPr sz="2520" b="1"/>
            </a:lvl2pPr>
            <a:lvl3pPr marL="1152053" indent="0">
              <a:buNone/>
              <a:defRPr sz="2268" b="1"/>
            </a:lvl3pPr>
            <a:lvl4pPr marL="1728079" indent="0">
              <a:buNone/>
              <a:defRPr sz="2016" b="1"/>
            </a:lvl4pPr>
            <a:lvl5pPr marL="2304105" indent="0">
              <a:buNone/>
              <a:defRPr sz="2016" b="1"/>
            </a:lvl5pPr>
            <a:lvl6pPr marL="2880131" indent="0">
              <a:buNone/>
              <a:defRPr sz="2016" b="1"/>
            </a:lvl6pPr>
            <a:lvl7pPr marL="3456158" indent="0">
              <a:buNone/>
              <a:defRPr sz="2016" b="1"/>
            </a:lvl7pPr>
            <a:lvl8pPr marL="4032184" indent="0">
              <a:buNone/>
              <a:defRPr sz="2016" b="1"/>
            </a:lvl8pPr>
            <a:lvl9pPr marL="4608210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776329" y="3156278"/>
            <a:ext cx="6530277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167B89-F843-4029-A188-A2F0F6778761}" type="datetime1">
              <a:rPr lang="ru-RU" smtClean="0"/>
              <a:t>14.06.2017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12148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49B347-EA48-4E53-AA19-91E2BE95543B}" type="datetime1">
              <a:rPr lang="ru-RU" smtClean="0"/>
              <a:t>14.06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74870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DDD74-0963-4817-90A9-E4C389D28BE1}" type="datetime1">
              <a:rPr lang="ru-RU" smtClean="0"/>
              <a:t>14.06.2017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84712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8046" y="576051"/>
            <a:ext cx="4954209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30277" y="1244111"/>
            <a:ext cx="7776329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58046" y="2592229"/>
            <a:ext cx="4954209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26" indent="0">
              <a:buNone/>
              <a:defRPr sz="1764"/>
            </a:lvl2pPr>
            <a:lvl3pPr marL="1152053" indent="0">
              <a:buNone/>
              <a:defRPr sz="1512"/>
            </a:lvl3pPr>
            <a:lvl4pPr marL="1728079" indent="0">
              <a:buNone/>
              <a:defRPr sz="1260"/>
            </a:lvl4pPr>
            <a:lvl5pPr marL="2304105" indent="0">
              <a:buNone/>
              <a:defRPr sz="1260"/>
            </a:lvl5pPr>
            <a:lvl6pPr marL="2880131" indent="0">
              <a:buNone/>
              <a:defRPr sz="1260"/>
            </a:lvl6pPr>
            <a:lvl7pPr marL="3456158" indent="0">
              <a:buNone/>
              <a:defRPr sz="1260"/>
            </a:lvl7pPr>
            <a:lvl8pPr marL="4032184" indent="0">
              <a:buNone/>
              <a:defRPr sz="1260"/>
            </a:lvl8pPr>
            <a:lvl9pPr marL="4608210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4507C-68E6-4153-A62A-DDC2054FE3DA}" type="datetime1">
              <a:rPr lang="ru-RU" smtClean="0"/>
              <a:t>14.06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77884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8046" y="576051"/>
            <a:ext cx="4954209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530277" y="1244111"/>
            <a:ext cx="7776329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26" indent="0">
              <a:buNone/>
              <a:defRPr sz="3528"/>
            </a:lvl2pPr>
            <a:lvl3pPr marL="1152053" indent="0">
              <a:buNone/>
              <a:defRPr sz="3024"/>
            </a:lvl3pPr>
            <a:lvl4pPr marL="1728079" indent="0">
              <a:buNone/>
              <a:defRPr sz="2520"/>
            </a:lvl4pPr>
            <a:lvl5pPr marL="2304105" indent="0">
              <a:buNone/>
              <a:defRPr sz="2520"/>
            </a:lvl5pPr>
            <a:lvl6pPr marL="2880131" indent="0">
              <a:buNone/>
              <a:defRPr sz="2520"/>
            </a:lvl6pPr>
            <a:lvl7pPr marL="3456158" indent="0">
              <a:buNone/>
              <a:defRPr sz="2520"/>
            </a:lvl7pPr>
            <a:lvl8pPr marL="4032184" indent="0">
              <a:buNone/>
              <a:defRPr sz="2520"/>
            </a:lvl8pPr>
            <a:lvl9pPr marL="4608210" indent="0">
              <a:buNone/>
              <a:defRPr sz="252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58046" y="2592229"/>
            <a:ext cx="4954209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26" indent="0">
              <a:buNone/>
              <a:defRPr sz="1764"/>
            </a:lvl2pPr>
            <a:lvl3pPr marL="1152053" indent="0">
              <a:buNone/>
              <a:defRPr sz="1512"/>
            </a:lvl3pPr>
            <a:lvl4pPr marL="1728079" indent="0">
              <a:buNone/>
              <a:defRPr sz="1260"/>
            </a:lvl4pPr>
            <a:lvl5pPr marL="2304105" indent="0">
              <a:buNone/>
              <a:defRPr sz="1260"/>
            </a:lvl5pPr>
            <a:lvl6pPr marL="2880131" indent="0">
              <a:buNone/>
              <a:defRPr sz="1260"/>
            </a:lvl6pPr>
            <a:lvl7pPr marL="3456158" indent="0">
              <a:buNone/>
              <a:defRPr sz="1260"/>
            </a:lvl7pPr>
            <a:lvl8pPr marL="4032184" indent="0">
              <a:buNone/>
              <a:defRPr sz="1260"/>
            </a:lvl8pPr>
            <a:lvl9pPr marL="4608210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A1A2F5-AE2A-496A-B8C5-EC7D7C36D010}" type="datetime1">
              <a:rPr lang="ru-RU" smtClean="0"/>
              <a:t>14.06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58927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56045" y="460041"/>
            <a:ext cx="13248561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56045" y="2300203"/>
            <a:ext cx="13248561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56045" y="8008708"/>
            <a:ext cx="345614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7539BE-C3BA-4B0B-914D-7C9F5DA1E847}" type="datetime1">
              <a:rPr lang="ru-RU" smtClean="0"/>
              <a:t>14.06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88216" y="8008708"/>
            <a:ext cx="5184219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48459" y="8008708"/>
            <a:ext cx="345614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9244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</p:sldLayoutIdLst>
  <p:hf hdr="0" ftr="0" dt="0"/>
  <p:txStyles>
    <p:titleStyle>
      <a:lvl1pPr algn="l" defTabSz="1152053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13" indent="-288013" algn="l" defTabSz="1152053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039" indent="-288013" algn="l" defTabSz="1152053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066" indent="-288013" algn="l" defTabSz="1152053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092" indent="-288013" algn="l" defTabSz="1152053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118" indent="-288013" algn="l" defTabSz="1152053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145" indent="-288013" algn="l" defTabSz="1152053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171" indent="-288013" algn="l" defTabSz="1152053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197" indent="-288013" algn="l" defTabSz="1152053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223" indent="-288013" algn="l" defTabSz="1152053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053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26" algn="l" defTabSz="1152053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053" algn="l" defTabSz="1152053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079" algn="l" defTabSz="1152053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105" algn="l" defTabSz="1152053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131" algn="l" defTabSz="1152053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158" algn="l" defTabSz="1152053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184" algn="l" defTabSz="1152053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210" algn="l" defTabSz="1152053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6.jpeg"/><Relationship Id="rId4" Type="http://schemas.openxmlformats.org/officeDocument/2006/relationships/image" Target="../media/image2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jpeg"/><Relationship Id="rId4" Type="http://schemas.openxmlformats.org/officeDocument/2006/relationships/image" Target="../media/image2.jpeg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jpeg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.jpe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7.jpe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1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jpeg"/><Relationship Id="rId5" Type="http://schemas.openxmlformats.org/officeDocument/2006/relationships/image" Target="../media/image10.png"/><Relationship Id="rId4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5000">
              <a:schemeClr val="accent1">
                <a:lumMod val="75000"/>
              </a:schemeClr>
            </a:gs>
            <a:gs pos="67000">
              <a:schemeClr val="accent1">
                <a:lumMod val="45000"/>
                <a:lumOff val="55000"/>
              </a:schemeClr>
            </a:gs>
            <a:gs pos="43000">
              <a:schemeClr val="accent1">
                <a:lumMod val="45000"/>
                <a:lumOff val="55000"/>
              </a:schemeClr>
            </a:gs>
            <a:gs pos="91000">
              <a:schemeClr val="accent1">
                <a:lumMod val="40000"/>
                <a:lumOff val="60000"/>
                <a:alpha val="4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380331" y="3725237"/>
            <a:ext cx="12599988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3200" b="1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 algn="ctr"/>
            <a:endParaRPr lang="ru-RU" sz="3200" b="1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 algn="ctr"/>
            <a:endParaRPr lang="ru-RU" sz="2800" b="1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 algn="ctr"/>
            <a:endParaRPr lang="ru-RU" sz="2800" b="1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 algn="ctr"/>
            <a:endParaRPr lang="ru-RU" sz="2800" b="1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 algn="ctr"/>
            <a:endParaRPr lang="en-US" sz="2800" b="1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380331" y="3725237"/>
            <a:ext cx="12599988" cy="2739211"/>
          </a:xfrm>
          <a:prstGeom prst="rect">
            <a:avLst/>
          </a:prstGeom>
          <a:gradFill>
            <a:gsLst>
              <a:gs pos="5000">
                <a:schemeClr val="accent1">
                  <a:lumMod val="75000"/>
                </a:schemeClr>
              </a:gs>
              <a:gs pos="67000">
                <a:schemeClr val="accent1">
                  <a:lumMod val="45000"/>
                  <a:lumOff val="55000"/>
                </a:schemeClr>
              </a:gs>
              <a:gs pos="43000">
                <a:schemeClr val="accent1">
                  <a:lumMod val="45000"/>
                  <a:lumOff val="55000"/>
                </a:schemeClr>
              </a:gs>
              <a:gs pos="91000">
                <a:schemeClr val="accent1">
                  <a:lumMod val="40000"/>
                  <a:lumOff val="60000"/>
                  <a:alpha val="40000"/>
                </a:schemeClr>
              </a:gs>
            </a:gsLst>
            <a:lin ang="5400000" scaled="1"/>
          </a:gradFill>
        </p:spPr>
        <p:txBody>
          <a:bodyPr wrap="square" rtlCol="0">
            <a:spAutoFit/>
          </a:bodyPr>
          <a:lstStyle/>
          <a:p>
            <a:pPr algn="ctr"/>
            <a:endParaRPr lang="ru-RU" sz="3200" b="1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 algn="ctr"/>
            <a:r>
              <a:rPr lang="ru-RU" sz="40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ширение доступа субъектов МСП </a:t>
            </a:r>
          </a:p>
          <a:p>
            <a:pPr algn="ctr"/>
            <a:r>
              <a:rPr lang="ru-RU" sz="40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 закупкам крупнейших заказчиков </a:t>
            </a:r>
          </a:p>
          <a:p>
            <a:r>
              <a:rPr lang="ru-RU" sz="3200" b="1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 </a:t>
            </a:r>
          </a:p>
          <a:p>
            <a:pPr algn="ctr"/>
            <a:endParaRPr lang="ru-RU" sz="2800" b="1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4787" y="499428"/>
            <a:ext cx="7091076" cy="3225800"/>
          </a:xfrm>
          <a:prstGeom prst="rect">
            <a:avLst/>
          </a:prstGeom>
          <a:gradFill>
            <a:gsLst>
              <a:gs pos="5000">
                <a:schemeClr val="accent1">
                  <a:lumMod val="75000"/>
                </a:schemeClr>
              </a:gs>
              <a:gs pos="67000">
                <a:schemeClr val="accent1">
                  <a:lumMod val="45000"/>
                  <a:lumOff val="55000"/>
                </a:schemeClr>
              </a:gs>
              <a:gs pos="43000">
                <a:schemeClr val="accent1">
                  <a:lumMod val="45000"/>
                  <a:lumOff val="55000"/>
                </a:schemeClr>
              </a:gs>
              <a:gs pos="91000">
                <a:schemeClr val="accent1">
                  <a:lumMod val="40000"/>
                  <a:lumOff val="60000"/>
                  <a:alpha val="40000"/>
                </a:schemeClr>
              </a:gs>
            </a:gsLst>
            <a:lin ang="5400000" scaled="1"/>
          </a:gradFill>
        </p:spPr>
      </p:pic>
    </p:spTree>
    <p:extLst>
      <p:ext uri="{BB962C8B-B14F-4D97-AF65-F5344CB8AC3E}">
        <p14:creationId xmlns:p14="http://schemas.microsoft.com/office/powerpoint/2010/main" val="3260774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/>
        </p:nvSpPr>
        <p:spPr>
          <a:xfrm>
            <a:off x="4527986" y="315374"/>
            <a:ext cx="779397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СНОВЫ РЕГУЛИРОВАНИЯ УЧАСТИЯ СУБЪЕКТОВ МСП В ЗАКУПКАХ КРУПНЕЙШИХ ЗАКАЗЧИКОВ </a:t>
            </a:r>
            <a:br>
              <a:rPr lang="ru-RU" sz="2000" b="1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</a:br>
            <a:r>
              <a:rPr lang="ru-RU" sz="2000" b="1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(В РАМКАХ ФЕДЕРАЛЬНОГО ЗАКОНА № 223-ФЗ)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9281554" y="5112336"/>
            <a:ext cx="3643199" cy="164929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03142" tIns="101571" rIns="203142" bIns="101571" numCol="1" spcCol="1270" anchor="ctr" anchorCtr="0">
            <a:noAutofit/>
          </a:bodyPr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Контроль за закупочной деятельностью крупнейших заказчиков со стороны </a:t>
            </a:r>
            <a:r>
              <a:rPr lang="ru-RU" dirty="0">
                <a:solidFill>
                  <a:schemeClr val="bg1"/>
                </a:solidFill>
              </a:rPr>
              <a:t>Корпорации МСП и органов исполнительной власти субъектов РФ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861484" y="3421925"/>
            <a:ext cx="3968320" cy="148418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03142" tIns="101571" rIns="203142" bIns="101571" numCol="1" spcCol="1270" anchor="ctr" anchorCtr="0">
            <a:noAutofit/>
          </a:bodyPr>
          <a:lstStyle/>
          <a:p>
            <a:pPr algn="ctr">
              <a:defRPr/>
            </a:pPr>
            <a:r>
              <a:rPr lang="ru-RU" dirty="0">
                <a:solidFill>
                  <a:schemeClr val="bg1"/>
                </a:solidFill>
              </a:rPr>
              <a:t>Обязанность заказчиков размещать в открытом доступе </a:t>
            </a:r>
            <a:r>
              <a:rPr lang="ru-RU" b="1" dirty="0">
                <a:solidFill>
                  <a:schemeClr val="bg1"/>
                </a:solidFill>
              </a:rPr>
              <a:t>перечень товаров, работ, услуг, закупаемых у субъектов МСП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885764" y="5010328"/>
            <a:ext cx="3976608" cy="175129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03142" tIns="101571" rIns="203142" bIns="101571" numCol="1" spcCol="1270" anchor="ctr" anchorCtr="0">
            <a:noAutofit/>
          </a:bodyPr>
          <a:lstStyle/>
          <a:p>
            <a:pPr algn="ctr">
              <a:defRPr/>
            </a:pPr>
            <a:r>
              <a:rPr lang="ru-RU" dirty="0">
                <a:solidFill>
                  <a:schemeClr val="bg1"/>
                </a:solidFill>
              </a:rPr>
              <a:t>Утверждены </a:t>
            </a:r>
            <a:r>
              <a:rPr lang="ru-RU" b="1" dirty="0">
                <a:solidFill>
                  <a:schemeClr val="bg1"/>
                </a:solidFill>
              </a:rPr>
              <a:t>перечни конкретных и отдельных заказчиков, </a:t>
            </a:r>
            <a:r>
              <a:rPr lang="ru-RU" dirty="0">
                <a:solidFill>
                  <a:schemeClr val="bg1"/>
                </a:solidFill>
              </a:rPr>
              <a:t>в отношении которых проводится </a:t>
            </a:r>
            <a:r>
              <a:rPr lang="ru-RU" b="1" dirty="0">
                <a:solidFill>
                  <a:schemeClr val="bg1"/>
                </a:solidFill>
              </a:rPr>
              <a:t>оценка соответствия и мониторинг соответствия</a:t>
            </a:r>
            <a:endParaRPr lang="ru-RU" b="1" spc="-66" dirty="0">
              <a:solidFill>
                <a:schemeClr val="bg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845200" y="6961909"/>
            <a:ext cx="4017172" cy="149234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03142" tIns="101571" rIns="203142" bIns="101571" numCol="1" spcCol="1270" anchor="ctr" anchorCtr="0">
            <a:noAutofit/>
          </a:bodyPr>
          <a:lstStyle/>
          <a:p>
            <a:pPr algn="ctr">
              <a:defRPr/>
            </a:pPr>
            <a:r>
              <a:rPr lang="ru-RU" dirty="0">
                <a:solidFill>
                  <a:schemeClr val="bg1"/>
                </a:solidFill>
              </a:rPr>
              <a:t>С 1 августа 2016 года начал работу </a:t>
            </a:r>
            <a:r>
              <a:rPr lang="ru-RU" b="1" dirty="0">
                <a:solidFill>
                  <a:schemeClr val="bg1"/>
                </a:solidFill>
              </a:rPr>
              <a:t>Единый реестр субъектов МСП</a:t>
            </a:r>
            <a:endParaRPr lang="ru-RU" spc="-66" dirty="0">
              <a:solidFill>
                <a:schemeClr val="bg1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894062" y="1714501"/>
            <a:ext cx="3935751" cy="160319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03142" tIns="101571" rIns="203142" bIns="101571" numCol="1" spcCol="1270" anchor="ctr" anchorCtr="0">
            <a:no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Квота на </a:t>
            </a:r>
            <a:r>
              <a:rPr lang="ru-RU" b="1" dirty="0">
                <a:solidFill>
                  <a:schemeClr val="bg1"/>
                </a:solidFill>
              </a:rPr>
              <a:t>закупки у субъектов МСП </a:t>
            </a:r>
            <a:r>
              <a:rPr lang="ru-RU" dirty="0">
                <a:solidFill>
                  <a:schemeClr val="bg1"/>
                </a:solidFill>
              </a:rPr>
              <a:t>и </a:t>
            </a:r>
            <a:r>
              <a:rPr lang="ru-RU" b="1" dirty="0">
                <a:solidFill>
                  <a:schemeClr val="bg1"/>
                </a:solidFill>
              </a:rPr>
              <a:t>минимальные годовые объемы закупок у</a:t>
            </a:r>
            <a:br>
              <a:rPr lang="ru-RU" b="1" dirty="0">
                <a:solidFill>
                  <a:schemeClr val="bg1"/>
                </a:solidFill>
              </a:rPr>
            </a:br>
            <a:r>
              <a:rPr lang="ru-RU" b="1" dirty="0">
                <a:solidFill>
                  <a:schemeClr val="bg1"/>
                </a:solidFill>
              </a:rPr>
              <a:t> субъектов МСП (10% и 18%)</a:t>
            </a:r>
            <a:r>
              <a:rPr lang="ru-RU" sz="1477" b="1" dirty="0">
                <a:solidFill>
                  <a:schemeClr val="bg1"/>
                </a:solidFill>
              </a:rPr>
              <a:t/>
            </a:r>
            <a:br>
              <a:rPr lang="ru-RU" sz="1477" b="1" dirty="0">
                <a:solidFill>
                  <a:schemeClr val="bg1"/>
                </a:solidFill>
              </a:rPr>
            </a:br>
            <a:r>
              <a:rPr lang="ru-RU" sz="1312" dirty="0">
                <a:solidFill>
                  <a:schemeClr val="bg1"/>
                </a:solidFill>
              </a:rPr>
              <a:t>с 2018 г – 15% по прямым закупкам</a:t>
            </a:r>
          </a:p>
        </p:txBody>
      </p:sp>
      <p:sp>
        <p:nvSpPr>
          <p:cNvPr id="39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0526497" y="7486651"/>
            <a:ext cx="2325483" cy="377361"/>
          </a:xfrm>
        </p:spPr>
        <p:txBody>
          <a:bodyPr/>
          <a:lstStyle/>
          <a:p>
            <a:pPr>
              <a:defRPr/>
            </a:pPr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3</a:t>
            </a:r>
          </a:p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9281554" y="3421926"/>
            <a:ext cx="3643199" cy="148418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03142" tIns="101571" rIns="203142" bIns="101571" numCol="1" spcCol="1270" anchor="ctr" anchorCtr="0">
            <a:noAutofit/>
          </a:bodyPr>
          <a:lstStyle/>
          <a:p>
            <a:pPr algn="ctr">
              <a:defRPr/>
            </a:pPr>
            <a:r>
              <a:rPr lang="ru-RU" dirty="0">
                <a:solidFill>
                  <a:schemeClr val="bg1"/>
                </a:solidFill>
              </a:rPr>
              <a:t>Обязанность заказчиков по формированию и размещению в ЕИС отдельного </a:t>
            </a:r>
            <a:r>
              <a:rPr lang="ru-RU" b="1" dirty="0">
                <a:solidFill>
                  <a:schemeClr val="bg1"/>
                </a:solidFill>
              </a:rPr>
              <a:t>раздела о закупках у субъектах МСП в плане закупок</a:t>
            </a:r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58686" y="325192"/>
            <a:ext cx="1159529" cy="1183088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9208772" y="6961909"/>
            <a:ext cx="3715972" cy="149234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03142" tIns="101571" rIns="203142" bIns="101571" numCol="1" spcCol="1270" anchor="ctr" anchorCtr="0">
            <a:noAutofit/>
          </a:bodyPr>
          <a:lstStyle/>
          <a:p>
            <a:pPr algn="ctr">
              <a:defRPr/>
            </a:pPr>
            <a:r>
              <a:rPr lang="ru-RU" spc="-66" dirty="0">
                <a:solidFill>
                  <a:schemeClr val="bg1"/>
                </a:solidFill>
              </a:rPr>
              <a:t>В августе 2016 года запущен </a:t>
            </a:r>
            <a:r>
              <a:rPr lang="ru-RU" b="1" spc="-66" dirty="0">
                <a:solidFill>
                  <a:schemeClr val="bg1"/>
                </a:solidFill>
              </a:rPr>
              <a:t>Бизнес-Навигатор</a:t>
            </a:r>
            <a:r>
              <a:rPr lang="ru-RU" spc="-66" dirty="0">
                <a:solidFill>
                  <a:schemeClr val="bg1"/>
                </a:solidFill>
              </a:rPr>
              <a:t>, в котором содержится в том числе информация о закупках крупнейших заказчиков </a:t>
            </a:r>
            <a:br>
              <a:rPr lang="ru-RU" spc="-66" dirty="0">
                <a:solidFill>
                  <a:schemeClr val="bg1"/>
                </a:solidFill>
              </a:rPr>
            </a:br>
            <a:r>
              <a:rPr lang="ru-RU" spc="-66" dirty="0">
                <a:solidFill>
                  <a:schemeClr val="bg1"/>
                </a:solidFill>
              </a:rPr>
              <a:t>у субъектов МСП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677704" y="1922209"/>
            <a:ext cx="2850282" cy="99763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accent1">
                    <a:lumMod val="50000"/>
                  </a:schemeClr>
                </a:solidFill>
              </a:rPr>
              <a:t>Преимущества для </a:t>
            </a:r>
            <a:br>
              <a:rPr lang="ru-RU" sz="2000" b="1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</a:rPr>
              <a:t>субъектов МСП: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9281546" y="1714501"/>
            <a:ext cx="3643200" cy="160319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03142" tIns="101571" rIns="203142" bIns="101571" numCol="1" spcCol="1270" anchor="ctr" anchorCtr="0">
            <a:no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chemeClr val="bg1"/>
                </a:solidFill>
              </a:rPr>
              <a:t>30-дневный </a:t>
            </a:r>
            <a:r>
              <a:rPr lang="ru-RU" sz="2000" dirty="0">
                <a:solidFill>
                  <a:schemeClr val="bg1"/>
                </a:solidFill>
              </a:rPr>
              <a:t>предельный срок оплаты для всех способов закупки </a:t>
            </a: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1525" y="63686"/>
            <a:ext cx="2146860" cy="770992"/>
          </a:xfrm>
          <a:prstGeom prst="rect">
            <a:avLst/>
          </a:prstGeom>
        </p:spPr>
      </p:pic>
      <p:sp>
        <p:nvSpPr>
          <p:cNvPr id="26" name="Прямоугольник 25"/>
          <p:cNvSpPr/>
          <p:nvPr/>
        </p:nvSpPr>
        <p:spPr>
          <a:xfrm>
            <a:off x="1677704" y="3595263"/>
            <a:ext cx="2850282" cy="97674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accent1">
                    <a:lumMod val="50000"/>
                  </a:schemeClr>
                </a:solidFill>
              </a:rPr>
              <a:t>Информационное обеспечение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760187" y="5260472"/>
            <a:ext cx="2850282" cy="102602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accent1">
                    <a:lumMod val="50000"/>
                  </a:schemeClr>
                </a:solidFill>
              </a:rPr>
              <a:t>Контроль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1760187" y="6961918"/>
            <a:ext cx="2850282" cy="113110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accent1">
                    <a:lumMod val="50000"/>
                  </a:schemeClr>
                </a:solidFill>
              </a:rPr>
              <a:t>Новые возможности для субъектов МСП</a:t>
            </a:r>
          </a:p>
        </p:txBody>
      </p:sp>
      <p:sp>
        <p:nvSpPr>
          <p:cNvPr id="19" name="Номер слайда 5"/>
          <p:cNvSpPr txBox="1">
            <a:spLocks/>
          </p:cNvSpPr>
          <p:nvPr/>
        </p:nvSpPr>
        <p:spPr>
          <a:xfrm>
            <a:off x="11145331" y="8180731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512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5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10</a:t>
            </a:r>
            <a:endParaRPr lang="ru-RU" sz="15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1760187" y="1508280"/>
            <a:ext cx="11775060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4948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0967441" y="8058660"/>
            <a:ext cx="2834996" cy="460041"/>
          </a:xfrm>
        </p:spPr>
        <p:txBody>
          <a:bodyPr/>
          <a:lstStyle/>
          <a:p>
            <a:fld id="{9005E221-E10C-40C7-8143-48F6241B2838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1795976" y="169017"/>
            <a:ext cx="12006469" cy="930619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lvl="0" algn="ctr"/>
            <a:r>
              <a:rPr lang="ru-RU" sz="3200" b="1" dirty="0"/>
              <a:t> </a:t>
            </a:r>
            <a:r>
              <a:rPr lang="ru-RU" sz="2400" b="1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ПОСОБЫ УЧАСТИЯ СУБЪЕКТОВ МСП </a:t>
            </a: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 ЗАКУПКАХ КРУПНЕЙШИХ ЗАКАЗЧИКОВ 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475097" y="6213406"/>
            <a:ext cx="551151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200" dirty="0"/>
          </a:p>
        </p:txBody>
      </p:sp>
      <p:sp>
        <p:nvSpPr>
          <p:cNvPr id="21" name="Пятиугольник 20"/>
          <p:cNvSpPr/>
          <p:nvPr/>
        </p:nvSpPr>
        <p:spPr>
          <a:xfrm>
            <a:off x="1537197" y="1320801"/>
            <a:ext cx="860281" cy="616450"/>
          </a:xfrm>
          <a:prstGeom prst="homePlate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1</a:t>
            </a:r>
          </a:p>
        </p:txBody>
      </p:sp>
      <p:sp>
        <p:nvSpPr>
          <p:cNvPr id="25" name="Пятиугольник 24"/>
          <p:cNvSpPr/>
          <p:nvPr/>
        </p:nvSpPr>
        <p:spPr>
          <a:xfrm>
            <a:off x="1537197" y="2250875"/>
            <a:ext cx="860281" cy="616450"/>
          </a:xfrm>
          <a:prstGeom prst="homePlate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2</a:t>
            </a:r>
          </a:p>
        </p:txBody>
      </p:sp>
      <p:sp>
        <p:nvSpPr>
          <p:cNvPr id="27" name="Пятиугольник 26"/>
          <p:cNvSpPr/>
          <p:nvPr/>
        </p:nvSpPr>
        <p:spPr>
          <a:xfrm>
            <a:off x="1537197" y="7237404"/>
            <a:ext cx="860281" cy="616450"/>
          </a:xfrm>
          <a:prstGeom prst="homePlate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3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479" y="41154"/>
            <a:ext cx="2163618" cy="984251"/>
          </a:xfrm>
          <a:prstGeom prst="rect">
            <a:avLst/>
          </a:prstGeom>
        </p:spPr>
      </p:pic>
      <p:sp>
        <p:nvSpPr>
          <p:cNvPr id="30" name="Скругленный прямоугольник 29"/>
          <p:cNvSpPr/>
          <p:nvPr/>
        </p:nvSpPr>
        <p:spPr>
          <a:xfrm>
            <a:off x="2773001" y="5638408"/>
            <a:ext cx="2129511" cy="949435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Заказчик 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ОБЯЗАН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10150259" y="5638409"/>
            <a:ext cx="2257060" cy="949435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Заказчик 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ВПРАВЕ</a:t>
            </a:r>
            <a:endParaRPr lang="ru-RU" sz="2000" dirty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1822636" y="3880504"/>
            <a:ext cx="4389468" cy="1172885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latin typeface="+mj-lt"/>
                <a:cs typeface="Times New Roman" panose="02020603050405020304" pitchFamily="18" charset="0"/>
              </a:rPr>
              <a:t>начальная (максимальная) цена договора </a:t>
            </a:r>
          </a:p>
          <a:p>
            <a:pPr algn="ctr"/>
            <a:r>
              <a:rPr lang="en-US" sz="3200" b="1" dirty="0">
                <a:solidFill>
                  <a:schemeClr val="accent2"/>
                </a:solidFill>
                <a:latin typeface="+mj-lt"/>
                <a:cs typeface="Times New Roman" panose="02020603050405020304" pitchFamily="18" charset="0"/>
              </a:rPr>
              <a:t>&lt;</a:t>
            </a:r>
            <a:r>
              <a:rPr lang="en-US" sz="3200" b="1" dirty="0">
                <a:latin typeface="+mj-lt"/>
                <a:cs typeface="Times New Roman" panose="02020603050405020304" pitchFamily="18" charset="0"/>
              </a:rPr>
              <a:t> </a:t>
            </a:r>
            <a:r>
              <a:rPr lang="ru-RU" sz="3200" b="1" dirty="0">
                <a:solidFill>
                  <a:schemeClr val="accent2"/>
                </a:solidFill>
                <a:latin typeface="+mj-lt"/>
                <a:cs typeface="Times New Roman" panose="02020603050405020304" pitchFamily="18" charset="0"/>
              </a:rPr>
              <a:t>200 млн. рублей</a:t>
            </a: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8991054" y="3880352"/>
            <a:ext cx="4811382" cy="1187506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latin typeface="+mj-lt"/>
                <a:cs typeface="Times New Roman" panose="02020603050405020304" pitchFamily="18" charset="0"/>
              </a:rPr>
              <a:t>Начальная (максимальная) цена договора </a:t>
            </a:r>
          </a:p>
          <a:p>
            <a:pPr algn="ctr"/>
            <a:r>
              <a:rPr lang="ru-RU" sz="3200" b="1" dirty="0">
                <a:solidFill>
                  <a:schemeClr val="accent2"/>
                </a:solidFill>
                <a:latin typeface="+mj-lt"/>
                <a:cs typeface="Times New Roman" panose="02020603050405020304" pitchFamily="18" charset="0"/>
              </a:rPr>
              <a:t>от</a:t>
            </a:r>
            <a:r>
              <a:rPr lang="en-US" sz="3200" b="1" dirty="0">
                <a:solidFill>
                  <a:schemeClr val="accent2"/>
                </a:solidFill>
                <a:latin typeface="+mj-lt"/>
                <a:cs typeface="Times New Roman" panose="02020603050405020304" pitchFamily="18" charset="0"/>
              </a:rPr>
              <a:t> </a:t>
            </a:r>
            <a:r>
              <a:rPr lang="ru-RU" sz="3200" b="1" dirty="0">
                <a:solidFill>
                  <a:schemeClr val="accent2"/>
                </a:solidFill>
                <a:latin typeface="+mj-lt"/>
                <a:cs typeface="Times New Roman" panose="02020603050405020304" pitchFamily="18" charset="0"/>
              </a:rPr>
              <a:t>200 млн. рублей </a:t>
            </a:r>
            <a:br>
              <a:rPr lang="ru-RU" sz="3200" b="1" dirty="0">
                <a:solidFill>
                  <a:schemeClr val="accent2"/>
                </a:solidFill>
                <a:latin typeface="+mj-lt"/>
                <a:cs typeface="Times New Roman" panose="02020603050405020304" pitchFamily="18" charset="0"/>
              </a:rPr>
            </a:br>
            <a:r>
              <a:rPr lang="ru-RU" sz="3200" b="1" dirty="0">
                <a:solidFill>
                  <a:schemeClr val="accent2"/>
                </a:solidFill>
                <a:latin typeface="+mj-lt"/>
                <a:cs typeface="Times New Roman" panose="02020603050405020304" pitchFamily="18" charset="0"/>
              </a:rPr>
              <a:t> до</a:t>
            </a:r>
            <a:r>
              <a:rPr lang="en-US" sz="3200" b="1" dirty="0">
                <a:solidFill>
                  <a:schemeClr val="accent2"/>
                </a:solidFill>
                <a:latin typeface="+mj-lt"/>
                <a:cs typeface="Times New Roman" panose="02020603050405020304" pitchFamily="18" charset="0"/>
              </a:rPr>
              <a:t> </a:t>
            </a:r>
            <a:r>
              <a:rPr lang="ru-RU" sz="3200" b="1" dirty="0">
                <a:solidFill>
                  <a:schemeClr val="accent2"/>
                </a:solidFill>
                <a:latin typeface="+mj-lt"/>
                <a:cs typeface="Times New Roman" panose="02020603050405020304" pitchFamily="18" charset="0"/>
              </a:rPr>
              <a:t>400 млн. рублей</a:t>
            </a:r>
          </a:p>
        </p:txBody>
      </p:sp>
      <p:sp>
        <p:nvSpPr>
          <p:cNvPr id="7" name="Стрелка вниз 6"/>
          <p:cNvSpPr/>
          <p:nvPr/>
        </p:nvSpPr>
        <p:spPr>
          <a:xfrm>
            <a:off x="11253806" y="5162201"/>
            <a:ext cx="425538" cy="38657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Стрелка вниз 33"/>
          <p:cNvSpPr/>
          <p:nvPr/>
        </p:nvSpPr>
        <p:spPr>
          <a:xfrm>
            <a:off x="3605411" y="5109028"/>
            <a:ext cx="425538" cy="38657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3593" y="5109028"/>
            <a:ext cx="1525576" cy="1300130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2371528" y="1393076"/>
            <a:ext cx="11033991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b="1" dirty="0">
                <a:solidFill>
                  <a:schemeClr val="accent5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Закупки, участниками которых являются любые лица, в том числе</a:t>
            </a:r>
            <a:br>
              <a:rPr lang="ru-RU" sz="2600" b="1" dirty="0">
                <a:solidFill>
                  <a:schemeClr val="accent5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</a:br>
            <a:r>
              <a:rPr lang="ru-RU" sz="2600" b="1" dirty="0">
                <a:solidFill>
                  <a:schemeClr val="accent5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 субъекты МСП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064095" y="2200431"/>
            <a:ext cx="11213835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b="1" dirty="0">
                <a:solidFill>
                  <a:schemeClr val="accent5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Участие в закупках, проводимых заказчиком ТОЛЬКО у субъектов МСП </a:t>
            </a:r>
            <a:br>
              <a:rPr lang="ru-RU" sz="2600" b="1" dirty="0">
                <a:solidFill>
                  <a:schemeClr val="accent5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</a:br>
            <a:r>
              <a:rPr lang="ru-RU" sz="2600" b="1" dirty="0">
                <a:solidFill>
                  <a:schemeClr val="accent5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(ПРЯМЫЕ ЗАКУПКИ) </a:t>
            </a:r>
          </a:p>
        </p:txBody>
      </p:sp>
      <p:sp>
        <p:nvSpPr>
          <p:cNvPr id="36" name="Овал 35"/>
          <p:cNvSpPr/>
          <p:nvPr/>
        </p:nvSpPr>
        <p:spPr>
          <a:xfrm>
            <a:off x="6289426" y="3065763"/>
            <a:ext cx="2701637" cy="1347962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ПЕРЕЧЕНЬ ТОВАРОВ, РАБОТ, УСЛУГ, закупаемых у субъектов МСП</a:t>
            </a:r>
          </a:p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308968" y="7348552"/>
            <a:ext cx="7960898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b="1" dirty="0">
                <a:solidFill>
                  <a:schemeClr val="accent5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Участие в закупках В КАЧЕСТВЕ СУБПОДРЯДЧИКА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 flipV="1">
            <a:off x="3927764" y="1208632"/>
            <a:ext cx="8479555" cy="29373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06812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2353131" y="8008719"/>
            <a:ext cx="1267688" cy="460041"/>
          </a:xfrm>
        </p:spPr>
        <p:txBody>
          <a:bodyPr/>
          <a:lstStyle/>
          <a:p>
            <a:fld id="{9005E221-E10C-40C7-8143-48F6241B2838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3941379" y="330143"/>
            <a:ext cx="9172701" cy="930619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algn="ctr">
              <a:defRPr/>
            </a:pPr>
            <a:r>
              <a:rPr lang="ru-RU" altLang="ru-RU" sz="2400" b="1" dirty="0">
                <a:solidFill>
                  <a:srgbClr val="002060"/>
                </a:solidFill>
                <a:cs typeface="Times New Roman" panose="02020603050405020304" pitchFamily="18" charset="0"/>
              </a:rPr>
              <a:t>ОСОБЕННОСТИ (ПРЕИМУЩЕСТВА) УЧАСТИЯ СУБЪЕКТОВ МСП В ПРЯМЫХ ЗАКУПКАХ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475100" y="6923753"/>
            <a:ext cx="551151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200" dirty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1935" y="5391712"/>
            <a:ext cx="1135193" cy="1229894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9457" y="6621606"/>
            <a:ext cx="1336041" cy="1002030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0331" y="2267"/>
            <a:ext cx="2163618" cy="984251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2497279" y="1277428"/>
            <a:ext cx="906614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3200" b="1" dirty="0">
                <a:solidFill>
                  <a:schemeClr val="accent5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Размер обеспечения заявки</a:t>
            </a:r>
            <a:r>
              <a:rPr lang="ru-RU" sz="2400" b="1" dirty="0">
                <a:solidFill>
                  <a:schemeClr val="accent5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 не может </a:t>
            </a:r>
            <a:r>
              <a:rPr lang="ru-RU" sz="3200" b="1" dirty="0">
                <a:solidFill>
                  <a:schemeClr val="accent5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превышать </a:t>
            </a:r>
            <a:r>
              <a:rPr lang="ru-RU" sz="3200" b="1" dirty="0">
                <a:solidFill>
                  <a:schemeClr val="accent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2%</a:t>
            </a:r>
            <a:r>
              <a:rPr lang="ru-RU" sz="3200" b="1" dirty="0">
                <a:solidFill>
                  <a:schemeClr val="accent5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 начальной </a:t>
            </a:r>
            <a:r>
              <a:rPr lang="ru-RU" sz="2400" b="1" dirty="0">
                <a:solidFill>
                  <a:schemeClr val="accent5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(максимальной) цены договора (цены лота)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462148" y="2891373"/>
            <a:ext cx="10846955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400" b="1" dirty="0">
                <a:solidFill>
                  <a:schemeClr val="accent5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Размер обеспечения исполнения договора </a:t>
            </a:r>
            <a:r>
              <a:rPr lang="ru-RU" sz="3200" b="1" dirty="0">
                <a:solidFill>
                  <a:schemeClr val="accent5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не может превышать </a:t>
            </a:r>
            <a:r>
              <a:rPr lang="ru-RU" sz="3200" b="1" dirty="0">
                <a:solidFill>
                  <a:schemeClr val="accent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5%</a:t>
            </a:r>
            <a:r>
              <a:rPr lang="ru-RU" sz="3200" b="1" dirty="0">
                <a:solidFill>
                  <a:schemeClr val="accent5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 начальной </a:t>
            </a:r>
            <a:r>
              <a:rPr lang="ru-RU" sz="2400" b="1" dirty="0">
                <a:solidFill>
                  <a:schemeClr val="accent5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(максимальной) цены договора (цены лота), если договором не предусмотрена выплата аванса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3065498" y="6832377"/>
            <a:ext cx="10372021" cy="1138168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убъект МСП имеет право выбора способа обеспечения </a:t>
            </a:r>
          </a:p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(банковская гарантия, денежное обеспечение или иные способы)</a:t>
            </a:r>
          </a:p>
        </p:txBody>
      </p:sp>
      <p:sp>
        <p:nvSpPr>
          <p:cNvPr id="28" name="Пятиугольник 27"/>
          <p:cNvSpPr/>
          <p:nvPr/>
        </p:nvSpPr>
        <p:spPr>
          <a:xfrm>
            <a:off x="1537197" y="1320801"/>
            <a:ext cx="860281" cy="616450"/>
          </a:xfrm>
          <a:prstGeom prst="homePlate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1</a:t>
            </a:r>
          </a:p>
        </p:txBody>
      </p:sp>
      <p:sp>
        <p:nvSpPr>
          <p:cNvPr id="29" name="Пятиугольник 28"/>
          <p:cNvSpPr/>
          <p:nvPr/>
        </p:nvSpPr>
        <p:spPr>
          <a:xfrm>
            <a:off x="1537197" y="2952480"/>
            <a:ext cx="860281" cy="616450"/>
          </a:xfrm>
          <a:prstGeom prst="homePlate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2</a:t>
            </a:r>
          </a:p>
        </p:txBody>
      </p:sp>
      <p:sp>
        <p:nvSpPr>
          <p:cNvPr id="32" name="Пятиугольник 31"/>
          <p:cNvSpPr/>
          <p:nvPr/>
        </p:nvSpPr>
        <p:spPr>
          <a:xfrm>
            <a:off x="1537197" y="4933487"/>
            <a:ext cx="860281" cy="616450"/>
          </a:xfrm>
          <a:prstGeom prst="homePlate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3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497278" y="4902903"/>
            <a:ext cx="1112354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chemeClr val="accent5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Срок заключения договора должен составлять </a:t>
            </a:r>
            <a:r>
              <a:rPr lang="ru-RU" sz="3200" b="1" dirty="0">
                <a:solidFill>
                  <a:schemeClr val="accent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не более 20 рабочих дней </a:t>
            </a:r>
            <a:r>
              <a:rPr lang="ru-RU" sz="2800" b="1" dirty="0">
                <a:solidFill>
                  <a:schemeClr val="accent5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с даты подведения итогов такой закупки</a:t>
            </a:r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71114" y="1113310"/>
            <a:ext cx="1237989" cy="1651281"/>
          </a:xfrm>
          <a:prstGeom prst="rect">
            <a:avLst/>
          </a:prstGeom>
        </p:spPr>
      </p:pic>
      <p:cxnSp>
        <p:nvCxnSpPr>
          <p:cNvPr id="19" name="Прямая соединительная линия 18"/>
          <p:cNvCxnSpPr/>
          <p:nvPr/>
        </p:nvCxnSpPr>
        <p:spPr>
          <a:xfrm>
            <a:off x="3941379" y="1113310"/>
            <a:ext cx="9824503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23711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Овал 27"/>
          <p:cNvSpPr/>
          <p:nvPr/>
        </p:nvSpPr>
        <p:spPr>
          <a:xfrm>
            <a:off x="10719179" y="5382491"/>
            <a:ext cx="2765149" cy="1211341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Единая информационная система (ЕИС)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981638" y="1566333"/>
            <a:ext cx="7434130" cy="253810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" name="TextBox 12"/>
          <p:cNvSpPr txBox="1"/>
          <p:nvPr/>
        </p:nvSpPr>
        <p:spPr>
          <a:xfrm>
            <a:off x="4925537" y="305123"/>
            <a:ext cx="7413219" cy="70788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 defTabSz="375061">
              <a:defRPr/>
            </a:pPr>
            <a:r>
              <a:rPr lang="ru-RU" sz="2000" b="1" dirty="0">
                <a:solidFill>
                  <a:srgbClr val="002060"/>
                </a:solidFill>
                <a:cs typeface="Times New Roman" panose="02020603050405020304" pitchFamily="18" charset="0"/>
              </a:rPr>
              <a:t>ИСТОЧНИКИ ИНФОРМАЦИИ,                                                                                                      необходимой для участия в закупках крупнейших заказчиков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2158644" y="1685978"/>
            <a:ext cx="7080137" cy="26664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4401" indent="-234401" algn="just">
              <a:spcBef>
                <a:spcPts val="492"/>
              </a:spcBef>
              <a:buFont typeface="Wingdings" panose="05000000000000000000" pitchFamily="2" charset="2"/>
              <a:buChar char="Ø"/>
            </a:pPr>
            <a:r>
              <a:rPr lang="ru-RU" sz="2000" b="1" i="1" dirty="0">
                <a:solidFill>
                  <a:schemeClr val="accent5">
                    <a:lumMod val="50000"/>
                  </a:schemeClr>
                </a:solidFill>
              </a:rPr>
              <a:t>Планы закупок </a:t>
            </a:r>
            <a:r>
              <a:rPr lang="ru-RU" sz="2000" i="1" dirty="0">
                <a:solidFill>
                  <a:schemeClr val="accent5">
                    <a:lumMod val="50000"/>
                  </a:schemeClr>
                </a:solidFill>
              </a:rPr>
              <a:t>крупнейших заказчиков у субъектов МСП</a:t>
            </a:r>
          </a:p>
          <a:p>
            <a:pPr marL="234401" indent="-234401" algn="just">
              <a:spcBef>
                <a:spcPts val="492"/>
              </a:spcBef>
              <a:buFont typeface="Wingdings" panose="05000000000000000000" pitchFamily="2" charset="2"/>
              <a:buChar char="Ø"/>
            </a:pPr>
            <a:r>
              <a:rPr lang="ru-RU" sz="2000" b="1" i="1" dirty="0">
                <a:solidFill>
                  <a:schemeClr val="accent5">
                    <a:lumMod val="50000"/>
                  </a:schemeClr>
                </a:solidFill>
              </a:rPr>
              <a:t>Перечни</a:t>
            </a:r>
            <a:r>
              <a:rPr lang="ru-RU" sz="2000" i="1" dirty="0">
                <a:solidFill>
                  <a:schemeClr val="accent5">
                    <a:lumMod val="50000"/>
                  </a:schemeClr>
                </a:solidFill>
              </a:rPr>
              <a:t> товаров, работ, услуг, закупаемых крупнейшими заказчиками у субъектов МСП</a:t>
            </a:r>
          </a:p>
          <a:p>
            <a:pPr marL="234401" indent="-234401" algn="just">
              <a:spcBef>
                <a:spcPts val="492"/>
              </a:spcBef>
              <a:buFont typeface="Wingdings" panose="05000000000000000000" pitchFamily="2" charset="2"/>
              <a:buChar char="Ø"/>
            </a:pPr>
            <a:r>
              <a:rPr lang="ru-RU" sz="2000" b="1" i="1" dirty="0">
                <a:solidFill>
                  <a:schemeClr val="accent5">
                    <a:lumMod val="50000"/>
                  </a:schemeClr>
                </a:solidFill>
              </a:rPr>
              <a:t>Положения о закупках </a:t>
            </a:r>
            <a:r>
              <a:rPr lang="ru-RU" sz="2000" i="1" dirty="0">
                <a:solidFill>
                  <a:schemeClr val="accent5">
                    <a:lumMod val="50000"/>
                  </a:schemeClr>
                </a:solidFill>
              </a:rPr>
              <a:t>крупнейших заказчиках</a:t>
            </a:r>
          </a:p>
          <a:p>
            <a:pPr marL="234401" indent="-234401" algn="just">
              <a:spcBef>
                <a:spcPts val="492"/>
              </a:spcBef>
              <a:buFont typeface="Wingdings" panose="05000000000000000000" pitchFamily="2" charset="2"/>
              <a:buChar char="Ø"/>
            </a:pPr>
            <a:r>
              <a:rPr lang="ru-RU" sz="2000" i="1" dirty="0">
                <a:solidFill>
                  <a:schemeClr val="accent5">
                    <a:lumMod val="50000"/>
                  </a:schemeClr>
                </a:solidFill>
              </a:rPr>
              <a:t>Информация о мерах </a:t>
            </a:r>
            <a:r>
              <a:rPr lang="ru-RU" sz="2000" b="1" i="1" dirty="0">
                <a:solidFill>
                  <a:schemeClr val="accent5">
                    <a:lumMod val="50000"/>
                  </a:schemeClr>
                </a:solidFill>
              </a:rPr>
              <a:t>финансовой поддержки</a:t>
            </a:r>
            <a:r>
              <a:rPr lang="ru-RU" sz="2000" i="1" dirty="0">
                <a:solidFill>
                  <a:schemeClr val="accent5">
                    <a:lumMod val="50000"/>
                  </a:schemeClr>
                </a:solidFill>
              </a:rPr>
              <a:t> (льготное финансирование, </a:t>
            </a:r>
            <a:r>
              <a:rPr lang="ru-RU" sz="2000" b="1" i="1" dirty="0">
                <a:solidFill>
                  <a:schemeClr val="accent5">
                    <a:lumMod val="50000"/>
                  </a:schemeClr>
                </a:solidFill>
              </a:rPr>
              <a:t>банковские гарантии</a:t>
            </a:r>
            <a:r>
              <a:rPr lang="ru-RU" sz="2000" i="1" dirty="0">
                <a:solidFill>
                  <a:schemeClr val="accent5">
                    <a:lumMod val="50000"/>
                  </a:schemeClr>
                </a:solidFill>
              </a:rPr>
              <a:t>), оказываемых Корпорацией субъектам МСП</a:t>
            </a:r>
          </a:p>
          <a:p>
            <a:endParaRPr lang="ru-RU" sz="1477" dirty="0"/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802593" y="6174856"/>
            <a:ext cx="4645799" cy="108642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ru-RU" sz="2000" b="1" dirty="0">
                <a:solidFill>
                  <a:schemeClr val="accent1">
                    <a:lumMod val="50000"/>
                  </a:schemeClr>
                </a:solidFill>
              </a:rPr>
              <a:t>Сайты общероссийских некоммерческих объединений, </a:t>
            </a:r>
            <a:r>
              <a:rPr lang="ru-RU" sz="1148" b="1" dirty="0">
                <a:solidFill>
                  <a:schemeClr val="accent1">
                    <a:lumMod val="50000"/>
                  </a:schemeClr>
                </a:solidFill>
              </a:rPr>
              <a:t>выражающих интересы субъектов МСП, Ассоциации региональных банков, отраслевых объединений</a:t>
            </a:r>
          </a:p>
          <a:p>
            <a:endParaRPr lang="ru-RU" sz="1477" dirty="0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2787112" y="4472068"/>
            <a:ext cx="4657043" cy="73368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Официальный сайт Корпорации МСП </a:t>
            </a:r>
          </a:p>
          <a:p>
            <a:pPr algn="ctr"/>
            <a:r>
              <a:rPr lang="en-US" sz="2400" b="1" dirty="0">
                <a:solidFill>
                  <a:schemeClr val="accent1">
                    <a:lumMod val="50000"/>
                  </a:schemeClr>
                </a:solidFill>
              </a:rPr>
              <a:t>www.corpmsp.ru</a:t>
            </a:r>
            <a:endParaRPr lang="ru-RU" sz="2400" b="1" dirty="0">
              <a:solidFill>
                <a:schemeClr val="accent1">
                  <a:lumMod val="50000"/>
                </a:schemeClr>
              </a:solidFill>
            </a:endParaRPr>
          </a:p>
          <a:p>
            <a:endParaRPr lang="ru-RU" sz="1477" dirty="0"/>
          </a:p>
        </p:txBody>
      </p:sp>
      <p:sp>
        <p:nvSpPr>
          <p:cNvPr id="25" name="Равнобедренный треугольник 24"/>
          <p:cNvSpPr/>
          <p:nvPr/>
        </p:nvSpPr>
        <p:spPr>
          <a:xfrm flipV="1">
            <a:off x="3581057" y="4157806"/>
            <a:ext cx="3059070" cy="314262"/>
          </a:xfrm>
          <a:prstGeom prst="triangl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77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4155" y="5262001"/>
            <a:ext cx="1007693" cy="1184568"/>
          </a:xfrm>
          <a:prstGeom prst="rect">
            <a:avLst/>
          </a:prstGeom>
        </p:spPr>
      </p:pic>
      <p:sp>
        <p:nvSpPr>
          <p:cNvPr id="27" name="Прямоугольник 26"/>
          <p:cNvSpPr/>
          <p:nvPr/>
        </p:nvSpPr>
        <p:spPr>
          <a:xfrm>
            <a:off x="8937779" y="6596485"/>
            <a:ext cx="4614952" cy="142097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/>
              <a:t>      Официальный сайт единой информационной системы в сфере закупок  товаров, работ, услуг для обеспечения государственных и муниципальных нужд </a:t>
            </a:r>
          </a:p>
          <a:p>
            <a:pPr algn="ctr"/>
            <a:r>
              <a:rPr lang="ru-RU" sz="1600" b="1" dirty="0"/>
              <a:t>www.zakupki.gov.ru </a:t>
            </a:r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020" y="5269303"/>
            <a:ext cx="1484962" cy="1041812"/>
          </a:xfrm>
          <a:prstGeom prst="rect">
            <a:avLst/>
          </a:prstGeom>
        </p:spPr>
      </p:pic>
      <p:sp>
        <p:nvSpPr>
          <p:cNvPr id="30" name="Штриховая стрелка вправо 29"/>
          <p:cNvSpPr/>
          <p:nvPr/>
        </p:nvSpPr>
        <p:spPr>
          <a:xfrm>
            <a:off x="8632147" y="5752371"/>
            <a:ext cx="514577" cy="162397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77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0030" y="25770"/>
            <a:ext cx="2777636" cy="1263573"/>
          </a:xfrm>
          <a:prstGeom prst="rect">
            <a:avLst/>
          </a:prstGeom>
        </p:spPr>
      </p:pic>
      <p:sp>
        <p:nvSpPr>
          <p:cNvPr id="35" name="Равнобедренный треугольник 34"/>
          <p:cNvSpPr/>
          <p:nvPr/>
        </p:nvSpPr>
        <p:spPr>
          <a:xfrm rot="16200000" flipV="1">
            <a:off x="8677878" y="2721941"/>
            <a:ext cx="1982991" cy="348838"/>
          </a:xfrm>
          <a:prstGeom prst="triangl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77"/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10176933" y="3567303"/>
            <a:ext cx="3130997" cy="1380359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Проведение обучающих семинаров для субъектов МСП 2016 - 2017</a:t>
            </a:r>
          </a:p>
        </p:txBody>
      </p:sp>
      <p:sp>
        <p:nvSpPr>
          <p:cNvPr id="37" name="Номер слайда 4"/>
          <p:cNvSpPr txBox="1">
            <a:spLocks/>
          </p:cNvSpPr>
          <p:nvPr/>
        </p:nvSpPr>
        <p:spPr>
          <a:xfrm>
            <a:off x="11445289" y="8114136"/>
            <a:ext cx="2325483" cy="377361"/>
          </a:xfrm>
          <a:prstGeom prst="rect">
            <a:avLst/>
          </a:prstGeom>
        </p:spPr>
        <p:txBody>
          <a:bodyPr vert="horz" lIns="75006" tIns="37503" rIns="75006" bIns="37503" rtlCol="0" anchor="ctr"/>
          <a:lstStyle>
            <a:defPPr>
              <a:defRPr lang="en-US"/>
            </a:defPPr>
            <a:lvl1pPr marL="0" algn="r" defTabSz="457200" rtl="0" eaLnBrk="1" latinLnBrk="0" hangingPunct="1">
              <a:defRPr sz="1512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400" dirty="0" smtClean="0">
                <a:solidFill>
                  <a:prstClr val="black">
                    <a:tint val="75000"/>
                  </a:prstClr>
                </a:solidFill>
              </a:rPr>
              <a:t>13</a:t>
            </a:r>
            <a:endParaRPr lang="ru-RU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2802593" y="5269303"/>
            <a:ext cx="4636235" cy="86029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ru-RU" sz="2000" b="1" dirty="0">
                <a:solidFill>
                  <a:schemeClr val="accent1">
                    <a:lumMod val="50000"/>
                  </a:schemeClr>
                </a:solidFill>
              </a:rPr>
              <a:t>Официальные сайты субъектов Российской Федерации</a:t>
            </a:r>
          </a:p>
          <a:p>
            <a:endParaRPr lang="ru-RU" sz="1477" dirty="0"/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2787112" y="7306520"/>
            <a:ext cx="4657043" cy="59990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Предоставление услуги через МФЦ</a:t>
            </a: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9843793" y="1832565"/>
            <a:ext cx="3640535" cy="148023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Участие субъектов МСП в закупках отдельных видов юридических лиц по Федеральному закону № 223-ФЗ</a:t>
            </a:r>
          </a:p>
        </p:txBody>
      </p:sp>
      <p:sp>
        <p:nvSpPr>
          <p:cNvPr id="22" name="Равнобедренный треугольник 21"/>
          <p:cNvSpPr/>
          <p:nvPr/>
        </p:nvSpPr>
        <p:spPr>
          <a:xfrm flipV="1">
            <a:off x="10719179" y="3284443"/>
            <a:ext cx="1982991" cy="245607"/>
          </a:xfrm>
          <a:prstGeom prst="triangl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77"/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2781785" y="7966413"/>
            <a:ext cx="4657043" cy="59990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Бизнес – навигатор МСП</a:t>
            </a:r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>
            <a:off x="4361483" y="1024270"/>
            <a:ext cx="8541327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43876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9738460" y="8167002"/>
            <a:ext cx="4891940" cy="460041"/>
          </a:xfrm>
        </p:spPr>
        <p:txBody>
          <a:bodyPr/>
          <a:lstStyle/>
          <a:p>
            <a:pPr algn="r"/>
            <a:r>
              <a:rPr lang="ru-RU" dirty="0" smtClean="0"/>
              <a:t>14</a:t>
            </a:r>
            <a:endParaRPr lang="ru-RU" dirty="0" smtClean="0"/>
          </a:p>
          <a:p>
            <a:pPr algn="r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7813514" y="10009141"/>
            <a:ext cx="2834996" cy="460041"/>
          </a:xfrm>
        </p:spPr>
        <p:txBody>
          <a:bodyPr/>
          <a:lstStyle/>
          <a:p>
            <a:fld id="{9005E221-E10C-40C7-8143-48F6241B2838}" type="slidenum">
              <a:rPr lang="ru-RU" smtClean="0"/>
              <a:pPr/>
              <a:t>14</a:t>
            </a:fld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3789781" y="174035"/>
            <a:ext cx="9561408" cy="70788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 defTabSz="375061">
              <a:defRPr/>
            </a:pPr>
            <a:r>
              <a:rPr lang="ru-RU" sz="2000" b="1" dirty="0">
                <a:solidFill>
                  <a:srgbClr val="002060"/>
                </a:solidFill>
                <a:cs typeface="Times New Roman" panose="02020603050405020304" pitchFamily="18" charset="0"/>
              </a:rPr>
              <a:t>АЛГОРИТМ УЧАСТИЯ СУБЪЕКТОВ МСП В ЗАКУПКАХ </a:t>
            </a:r>
            <a:br>
              <a:rPr lang="ru-RU" sz="2000" b="1" dirty="0">
                <a:solidFill>
                  <a:srgbClr val="002060"/>
                </a:solidFill>
                <a:cs typeface="Times New Roman" panose="02020603050405020304" pitchFamily="18" charset="0"/>
              </a:rPr>
            </a:br>
            <a:r>
              <a:rPr lang="ru-RU" sz="2000" b="1" dirty="0">
                <a:solidFill>
                  <a:srgbClr val="002060"/>
                </a:solidFill>
                <a:cs typeface="Times New Roman" panose="02020603050405020304" pitchFamily="18" charset="0"/>
              </a:rPr>
              <a:t>ПО ФЕДЕРАЛЬНОМУ ЗАКОНУ № 223-ФЗ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544083" y="6733150"/>
            <a:ext cx="12170016" cy="73371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800" b="1" dirty="0">
                <a:solidFill>
                  <a:schemeClr val="bg1"/>
                </a:solidFill>
              </a:rPr>
              <a:t>2. Выбор заказчика и номенклатуры закупки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1518678" y="7747918"/>
            <a:ext cx="12170016" cy="738333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800" b="1" dirty="0">
                <a:solidFill>
                  <a:schemeClr val="bg1"/>
                </a:solidFill>
              </a:rPr>
              <a:t>3. Участие в закупке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1488894" y="1109358"/>
            <a:ext cx="12199809" cy="612703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AutoNum type="arabicPeriod"/>
            </a:pPr>
            <a:r>
              <a:rPr lang="ru-RU" sz="2800" b="1" dirty="0">
                <a:solidFill>
                  <a:schemeClr val="bg1"/>
                </a:solidFill>
              </a:rPr>
              <a:t>Проверка принадлежности к субъектам МСП</a:t>
            </a:r>
          </a:p>
          <a:p>
            <a:pPr algn="just"/>
            <a:endParaRPr lang="ru-RU" sz="1400" b="1" dirty="0">
              <a:solidFill>
                <a:schemeClr val="bg1"/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8885" y="1958550"/>
            <a:ext cx="6430470" cy="3093772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0331" y="2259"/>
            <a:ext cx="2163618" cy="811156"/>
          </a:xfrm>
          <a:prstGeom prst="rect">
            <a:avLst/>
          </a:prstGeom>
        </p:spPr>
      </p:pic>
      <p:grpSp>
        <p:nvGrpSpPr>
          <p:cNvPr id="40" name="Группа 39"/>
          <p:cNvGrpSpPr/>
          <p:nvPr/>
        </p:nvGrpSpPr>
        <p:grpSpPr>
          <a:xfrm>
            <a:off x="8052164" y="1511844"/>
            <a:ext cx="5715105" cy="3422722"/>
            <a:chOff x="-377905" y="3331579"/>
            <a:chExt cx="12637254" cy="1118261"/>
          </a:xfrm>
        </p:grpSpPr>
        <p:sp>
          <p:nvSpPr>
            <p:cNvPr id="41" name="Скругленный прямоугольник 40"/>
            <p:cNvSpPr/>
            <p:nvPr/>
          </p:nvSpPr>
          <p:spPr>
            <a:xfrm>
              <a:off x="-377905" y="3497450"/>
              <a:ext cx="12637249" cy="95239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7" name="Скругленный прямоугольник 4"/>
            <p:cNvSpPr txBox="1"/>
            <p:nvPr/>
          </p:nvSpPr>
          <p:spPr>
            <a:xfrm>
              <a:off x="347870" y="3331579"/>
              <a:ext cx="11911479" cy="103294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algn="just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600" dirty="0">
                <a:latin typeface="+mj-lt"/>
              </a:endParaRPr>
            </a:p>
          </p:txBody>
        </p:sp>
      </p:grpSp>
      <p:sp>
        <p:nvSpPr>
          <p:cNvPr id="8" name="Прямоугольник 7"/>
          <p:cNvSpPr/>
          <p:nvPr/>
        </p:nvSpPr>
        <p:spPr>
          <a:xfrm>
            <a:off x="8185175" y="2373467"/>
            <a:ext cx="5582093" cy="20867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400" b="1" u="sng" dirty="0">
                <a:solidFill>
                  <a:schemeClr val="bg1"/>
                </a:solidFill>
              </a:rPr>
              <a:t>С 1 августа 2016 г. </a:t>
            </a:r>
            <a:r>
              <a:rPr lang="ru-RU" dirty="0">
                <a:solidFill>
                  <a:schemeClr val="bg1"/>
                </a:solidFill>
                <a:latin typeface="+mj-lt"/>
              </a:rPr>
              <a:t>на официальном сайте ФНС России в сети Интернет </a:t>
            </a:r>
            <a:r>
              <a:rPr lang="ru-RU" sz="2400" b="1" dirty="0">
                <a:solidFill>
                  <a:schemeClr val="bg1"/>
                </a:solidFill>
              </a:rPr>
              <a:t>размещен</a:t>
            </a:r>
            <a:r>
              <a:rPr lang="ru-RU" sz="24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2800" b="1" dirty="0">
                <a:solidFill>
                  <a:schemeClr val="bg1"/>
                </a:solidFill>
                <a:latin typeface="+mj-lt"/>
              </a:rPr>
              <a:t>Единый реестр субъектов малого и среднего предпринимательства, </a:t>
            </a:r>
            <a:r>
              <a:rPr lang="ru-RU" dirty="0">
                <a:solidFill>
                  <a:schemeClr val="bg1"/>
                </a:solidFill>
                <a:latin typeface="+mj-lt"/>
              </a:rPr>
              <a:t>содержащий сведения обо всех зарегистрированных в ЕГРЮЛ и ЕГРИП субъектах МСП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1488885" y="5215632"/>
            <a:ext cx="12278376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нные Единого Реестра субъектов МСП обновляются ежемесячно 10 числа каждого месяца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ru-RU" sz="9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овь созданные юридические лица и вновь зарегистрированные ИП подтверждают свое соответствие категории субъектов МСП путем заполнения декларации субъекта МСП (по форме приложения к Постановлению № 1352).</a:t>
            </a:r>
          </a:p>
          <a:p>
            <a:pPr algn="just"/>
            <a:endParaRPr lang="ru-RU" dirty="0"/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4752753" y="881921"/>
            <a:ext cx="8946587" cy="18192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2152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Овал 7"/>
          <p:cNvSpPr/>
          <p:nvPr/>
        </p:nvSpPr>
        <p:spPr>
          <a:xfrm>
            <a:off x="1669941" y="993835"/>
            <a:ext cx="2912875" cy="1855046"/>
          </a:xfrm>
          <a:prstGeom prst="ellipse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>
                <a:solidFill>
                  <a:schemeClr val="bg1"/>
                </a:solidFill>
              </a:rPr>
              <a:t>Поиск извещений о закупке</a:t>
            </a:r>
          </a:p>
        </p:txBody>
      </p:sp>
      <p:sp>
        <p:nvSpPr>
          <p:cNvPr id="9" name="Овал 8"/>
          <p:cNvSpPr/>
          <p:nvPr/>
        </p:nvSpPr>
        <p:spPr>
          <a:xfrm>
            <a:off x="5927852" y="993835"/>
            <a:ext cx="3585335" cy="1842162"/>
          </a:xfrm>
          <a:prstGeom prst="ellipse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>
                <a:solidFill>
                  <a:schemeClr val="bg1"/>
                </a:solidFill>
              </a:rPr>
              <a:t>Изучение извещения и документации о закупке 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3908" y="3357967"/>
            <a:ext cx="4184723" cy="2753066"/>
          </a:xfrm>
          <a:prstGeom prst="rect">
            <a:avLst/>
          </a:prstGeom>
        </p:spPr>
      </p:pic>
      <p:sp>
        <p:nvSpPr>
          <p:cNvPr id="15" name="Штриховая стрелка вправо 14"/>
          <p:cNvSpPr/>
          <p:nvPr/>
        </p:nvSpPr>
        <p:spPr>
          <a:xfrm>
            <a:off x="4801820" y="1619231"/>
            <a:ext cx="868452" cy="591370"/>
          </a:xfrm>
          <a:prstGeom prst="stripedRightArrow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TextBox 28"/>
          <p:cNvSpPr txBox="1"/>
          <p:nvPr/>
        </p:nvSpPr>
        <p:spPr>
          <a:xfrm>
            <a:off x="4091839" y="130549"/>
            <a:ext cx="8932880" cy="70788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 defTabSz="375061">
              <a:defRPr/>
            </a:pPr>
            <a:r>
              <a:rPr lang="ru-RU" sz="2000" b="1" dirty="0">
                <a:solidFill>
                  <a:srgbClr val="002060"/>
                </a:solidFill>
              </a:rPr>
              <a:t>ПОИСК И ПРОСМОТР РАЗМЕЩЕННЫХ ИЗВЕЩЕНИЙ О ЗАКУПКЕ С ПОМОЩЬЮ ФУНКЦИОНАЛА ЕИС В РЕЕСТРЕ ЗАКУПОК</a:t>
            </a:r>
            <a:endParaRPr lang="ru-RU" sz="1969" b="1" dirty="0">
              <a:solidFill>
                <a:srgbClr val="002060"/>
              </a:solidFill>
              <a:cs typeface="Times New Roman" panose="02020603050405020304" pitchFamily="18" charset="0"/>
            </a:endParaRPr>
          </a:p>
        </p:txBody>
      </p:sp>
      <p:sp>
        <p:nvSpPr>
          <p:cNvPr id="28" name="Овал 27"/>
          <p:cNvSpPr/>
          <p:nvPr/>
        </p:nvSpPr>
        <p:spPr>
          <a:xfrm>
            <a:off x="10858223" y="968159"/>
            <a:ext cx="2903923" cy="1842162"/>
          </a:xfrm>
          <a:prstGeom prst="ellipse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/>
              <a:t>Оформление заявки и комплекта документов</a:t>
            </a:r>
          </a:p>
        </p:txBody>
      </p:sp>
      <p:sp>
        <p:nvSpPr>
          <p:cNvPr id="33" name="Штриховая стрелка вправо 32"/>
          <p:cNvSpPr/>
          <p:nvPr/>
        </p:nvSpPr>
        <p:spPr>
          <a:xfrm>
            <a:off x="9884249" y="1589176"/>
            <a:ext cx="801751" cy="591370"/>
          </a:xfrm>
          <a:prstGeom prst="stripedRightArrow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518895" y="6901415"/>
            <a:ext cx="1109735" cy="1276446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0331" y="2267"/>
            <a:ext cx="2163618" cy="984251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1485549" y="2931296"/>
            <a:ext cx="370050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мету договора или по коду ОКПД2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729465" y="3085184"/>
            <a:ext cx="3982107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 просмотра сведений о закупки необходимо нажать гиперссылку с номером закупки или на гиперссылку «Сведения» в строке перечня найденных закупок. </a:t>
            </a:r>
            <a:b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карточке просмотра закупки отображаются следующие ВКЛАДКИ:</a:t>
            </a:r>
          </a:p>
          <a:p>
            <a:pPr algn="just">
              <a:buFont typeface="Arial" panose="020B0604020202020204" pitchFamily="34" charset="0"/>
              <a:buChar char="•"/>
            </a:pPr>
            <a:endParaRPr lang="ru-RU" sz="1400" b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ая информация 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Список лотов  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Документы закупки  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Изменения и разъяснения  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Протоколы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4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Журнал событий</a:t>
            </a:r>
          </a:p>
          <a:p>
            <a:pPr algn="just">
              <a:buFont typeface="Arial" panose="020B0604020202020204" pitchFamily="34" charset="0"/>
              <a:buChar char="•"/>
            </a:pPr>
            <a:endParaRPr lang="ru-RU" sz="1400" b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 вкладке «Документы закупки» отображаются документация по закупке, разъяснения документации, протоколы работы комиссии, договор</a:t>
            </a:r>
          </a:p>
          <a:p>
            <a:pPr algn="just">
              <a:buFont typeface="Arial" panose="020B0604020202020204" pitchFamily="34" charset="0"/>
              <a:buChar char="•"/>
            </a:pPr>
            <a:endParaRPr lang="ru-RU" sz="1400" b="1" i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Овал 36"/>
          <p:cNvSpPr/>
          <p:nvPr/>
        </p:nvSpPr>
        <p:spPr>
          <a:xfrm>
            <a:off x="1902547" y="6812541"/>
            <a:ext cx="2447644" cy="1289693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</a:rPr>
              <a:t>Корпорация МСП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</a:rPr>
              <a:t>Осуществляет разъяснение и методическую помощь в оформлении заявки и комплекта документов  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9804643" y="6166532"/>
            <a:ext cx="3993003" cy="68889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400" dirty="0">
                <a:solidFill>
                  <a:schemeClr val="tx1"/>
                </a:solidFill>
              </a:rPr>
              <a:t>1. Необходимо зарегистрироваться на сайте выбранной ЭТП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803130" y="6920337"/>
            <a:ext cx="4020265" cy="70119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400" dirty="0">
                <a:solidFill>
                  <a:schemeClr val="tx1"/>
                </a:solidFill>
              </a:rPr>
              <a:t>2. Необходимо получить электронную цифровую подпись, которая выдается авторизованным удостоверяющим центром.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9763879" y="7686446"/>
            <a:ext cx="4020265" cy="54917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400" dirty="0">
                <a:solidFill>
                  <a:schemeClr val="tx1"/>
                </a:solidFill>
              </a:rPr>
              <a:t>3. С помощью ЭЦП из личного кабинета в ЭТП подать заявку на участие в электронной закупке</a:t>
            </a:r>
          </a:p>
        </p:txBody>
      </p:sp>
      <p:pic>
        <p:nvPicPr>
          <p:cNvPr id="43" name="Рисунок 4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6378" y="4406057"/>
            <a:ext cx="1093273" cy="1147242"/>
          </a:xfrm>
          <a:prstGeom prst="rect">
            <a:avLst/>
          </a:prstGeom>
        </p:spPr>
      </p:pic>
      <p:sp>
        <p:nvSpPr>
          <p:cNvPr id="44" name="Штриховая стрелка вправо 43"/>
          <p:cNvSpPr/>
          <p:nvPr/>
        </p:nvSpPr>
        <p:spPr>
          <a:xfrm rot="5400000">
            <a:off x="10867876" y="3044910"/>
            <a:ext cx="801751" cy="591370"/>
          </a:xfrm>
          <a:prstGeom prst="stripedRightArrow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Штриховая стрелка вправо 45"/>
          <p:cNvSpPr/>
          <p:nvPr/>
        </p:nvSpPr>
        <p:spPr>
          <a:xfrm rot="5400000">
            <a:off x="12699553" y="3049929"/>
            <a:ext cx="801751" cy="591370"/>
          </a:xfrm>
          <a:prstGeom prst="stripedRightArrow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Овал 46"/>
          <p:cNvSpPr/>
          <p:nvPr/>
        </p:nvSpPr>
        <p:spPr>
          <a:xfrm>
            <a:off x="9778203" y="3811034"/>
            <a:ext cx="2449585" cy="1622420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b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000" b="1" dirty="0">
                <a:solidFill>
                  <a:schemeClr val="accent1">
                    <a:lumMod val="50000"/>
                  </a:schemeClr>
                </a:solidFill>
              </a:rPr>
              <a:t>На бумажном носителе по адресу заказчика</a:t>
            </a:r>
          </a:p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48" name="Овал 47"/>
          <p:cNvSpPr/>
          <p:nvPr/>
        </p:nvSpPr>
        <p:spPr>
          <a:xfrm>
            <a:off x="11667331" y="3854930"/>
            <a:ext cx="2312988" cy="1578524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b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600" b="1" dirty="0">
                <a:solidFill>
                  <a:schemeClr val="accent1">
                    <a:lumMod val="50000"/>
                  </a:schemeClr>
                </a:solidFill>
              </a:rPr>
              <a:t>Посредством интерфейса электронной торговой площадки (ЭТП) </a:t>
            </a:r>
          </a:p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49" name="Штриховая стрелка вправо 48"/>
          <p:cNvSpPr/>
          <p:nvPr/>
        </p:nvSpPr>
        <p:spPr>
          <a:xfrm rot="5400000">
            <a:off x="12760312" y="5489788"/>
            <a:ext cx="680233" cy="591370"/>
          </a:xfrm>
          <a:prstGeom prst="stripedRightArrow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Номер слайда 4"/>
          <p:cNvSpPr txBox="1">
            <a:spLocks/>
          </p:cNvSpPr>
          <p:nvPr/>
        </p:nvSpPr>
        <p:spPr>
          <a:xfrm>
            <a:off x="11445289" y="8114136"/>
            <a:ext cx="3247456" cy="377361"/>
          </a:xfrm>
          <a:prstGeom prst="rect">
            <a:avLst/>
          </a:prstGeom>
        </p:spPr>
        <p:txBody>
          <a:bodyPr vert="horz" lIns="75006" tIns="37503" rIns="75006" bIns="37503" rtlCol="0" anchor="ctr"/>
          <a:lstStyle>
            <a:defPPr>
              <a:defRPr lang="en-US"/>
            </a:defPPr>
            <a:lvl1pPr marL="0" algn="r" defTabSz="457200" rtl="0" eaLnBrk="1" latinLnBrk="0" hangingPunct="1">
              <a:defRPr sz="1512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ru-RU" sz="1400" dirty="0">
              <a:solidFill>
                <a:prstClr val="black">
                  <a:tint val="75000"/>
                </a:prstClr>
              </a:solidFill>
            </a:endParaRPr>
          </a:p>
          <a:p>
            <a:pPr>
              <a:defRPr/>
            </a:pPr>
            <a:endParaRPr lang="ru-RU" sz="1400" dirty="0">
              <a:solidFill>
                <a:prstClr val="black">
                  <a:tint val="75000"/>
                </a:prstClr>
              </a:solidFill>
            </a:endParaRPr>
          </a:p>
          <a:p>
            <a:pPr>
              <a:defRPr/>
            </a:pPr>
            <a:r>
              <a:rPr lang="ru-RU" sz="1400" dirty="0" smtClean="0">
                <a:solidFill>
                  <a:prstClr val="black">
                    <a:tint val="75000"/>
                  </a:prstClr>
                </a:solidFill>
              </a:rPr>
              <a:t>15</a:t>
            </a:r>
            <a:endParaRPr lang="ru-RU" sz="1400" dirty="0">
              <a:solidFill>
                <a:prstClr val="black">
                  <a:tint val="75000"/>
                </a:prstClr>
              </a:solidFill>
            </a:endParaRPr>
          </a:p>
          <a:p>
            <a:pPr>
              <a:defRPr/>
            </a:pPr>
            <a:endParaRPr lang="ru-RU" sz="1400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166291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2085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0892139" y="8008718"/>
            <a:ext cx="2834996" cy="460041"/>
          </a:xfrm>
        </p:spPr>
        <p:txBody>
          <a:bodyPr/>
          <a:lstStyle/>
          <a:p>
            <a:fld id="{9005E221-E10C-40C7-8143-48F6241B283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883871" y="267968"/>
            <a:ext cx="9054660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 defTabSz="375061">
              <a:defRPr/>
            </a:pPr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>ОБЖАЛОВАНИЕ ЗАКУПОК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353508" y="1490438"/>
            <a:ext cx="10924955" cy="1096496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>
                <a:solidFill>
                  <a:schemeClr val="bg1"/>
                </a:solidFill>
              </a:rPr>
              <a:t>Если вы </a:t>
            </a:r>
            <a:r>
              <a:rPr lang="ru-RU" sz="2400" b="1" u="sng" dirty="0">
                <a:solidFill>
                  <a:schemeClr val="bg1"/>
                </a:solidFill>
              </a:rPr>
              <a:t>не согласны с действиями (бездействием) заказчика </a:t>
            </a:r>
            <a:r>
              <a:rPr lang="ru-RU" sz="2400" dirty="0">
                <a:solidFill>
                  <a:schemeClr val="bg1"/>
                </a:solidFill>
              </a:rPr>
              <a:t>и считаете, что </a:t>
            </a:r>
            <a:r>
              <a:rPr lang="ru-RU" sz="2400" b="1" dirty="0">
                <a:solidFill>
                  <a:schemeClr val="bg1"/>
                </a:solidFill>
              </a:rPr>
              <a:t>заказчиком в ходе закупочной процедуры были допущены нарушения, </a:t>
            </a:r>
            <a:r>
              <a:rPr lang="ru-RU" sz="2400" dirty="0">
                <a:solidFill>
                  <a:schemeClr val="bg1"/>
                </a:solidFill>
              </a:rPr>
              <a:t>у вас есть следующие </a:t>
            </a:r>
            <a:r>
              <a:rPr lang="ru-RU" sz="2400" b="1" dirty="0">
                <a:solidFill>
                  <a:schemeClr val="bg1"/>
                </a:solidFill>
              </a:rPr>
              <a:t>инструменты для защиты своих прав: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128547" y="4462096"/>
            <a:ext cx="5361509" cy="168931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</a:rPr>
              <a:t>2. Обжаловать действия заказчика </a:t>
            </a:r>
            <a:br>
              <a:rPr lang="ru-RU" sz="2400" b="1" dirty="0">
                <a:solidFill>
                  <a:schemeClr val="bg1"/>
                </a:solidFill>
              </a:rPr>
            </a:br>
            <a:r>
              <a:rPr lang="ru-RU" sz="2400" b="1" dirty="0">
                <a:solidFill>
                  <a:schemeClr val="accent2"/>
                </a:solidFill>
              </a:rPr>
              <a:t>в судебном порядке 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7637300" y="4462096"/>
            <a:ext cx="5777364" cy="1689321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</a:rPr>
              <a:t>3. Обжаловать действия (бездействие) заказчика в </a:t>
            </a:r>
            <a:r>
              <a:rPr lang="ru-RU" sz="2400" b="1" dirty="0">
                <a:solidFill>
                  <a:schemeClr val="accent2"/>
                </a:solidFill>
              </a:rPr>
              <a:t>Федеральной антимонопольной службе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4750" b="90000" l="10000" r="9458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6920" y="6394045"/>
            <a:ext cx="3188413" cy="2232587"/>
          </a:xfrm>
          <a:prstGeom prst="rect">
            <a:avLst/>
          </a:prstGeom>
        </p:spPr>
      </p:pic>
      <p:sp>
        <p:nvSpPr>
          <p:cNvPr id="24" name="Прямоугольник 23"/>
          <p:cNvSpPr/>
          <p:nvPr/>
        </p:nvSpPr>
        <p:spPr>
          <a:xfrm>
            <a:off x="2353508" y="2869681"/>
            <a:ext cx="10924955" cy="142193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1. Обратиться в Корпорацию МСП в целях оказания вам методологической и/или правовой поддержки, в том числе по обжалованию действий (бездействия) заказчика в судебном порядке или в Федеральной антимонопольной службе </a:t>
            </a:r>
            <a:endParaRPr lang="ru-RU" sz="2000" b="1" dirty="0">
              <a:solidFill>
                <a:schemeClr val="accent2"/>
              </a:solidFill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0331" y="2267"/>
            <a:ext cx="2163618" cy="1010113"/>
          </a:xfrm>
          <a:prstGeom prst="rect">
            <a:avLst/>
          </a:prstGeom>
        </p:spPr>
      </p:pic>
      <p:cxnSp>
        <p:nvCxnSpPr>
          <p:cNvPr id="12" name="Прямая соединительная линия 11"/>
          <p:cNvCxnSpPr/>
          <p:nvPr/>
        </p:nvCxnSpPr>
        <p:spPr>
          <a:xfrm>
            <a:off x="166291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6631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100953" y="220403"/>
            <a:ext cx="9961563" cy="496290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>
            <a:defPPr>
              <a:defRPr lang="en-US"/>
            </a:defPPr>
            <a:lvl1pPr lvl="0">
              <a:defRPr sz="2625" b="1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ru-RU" dirty="0"/>
              <a:t>МЕРЫ ПОДДЕРЖКИ СУБЪЕКТОВ МСП </a:t>
            </a:r>
          </a:p>
        </p:txBody>
      </p:sp>
      <p:sp>
        <p:nvSpPr>
          <p:cNvPr id="17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3646700" y="8180727"/>
            <a:ext cx="286033" cy="460041"/>
          </a:xfrm>
        </p:spPr>
        <p:txBody>
          <a:bodyPr/>
          <a:lstStyle/>
          <a:p>
            <a:r>
              <a:rPr lang="ru-RU" dirty="0" smtClean="0"/>
              <a:t>2</a:t>
            </a:r>
            <a:endParaRPr lang="ru-RU" dirty="0"/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0207"/>
            <a:ext cx="2163618" cy="891594"/>
          </a:xfrm>
          <a:prstGeom prst="rect">
            <a:avLst/>
          </a:prstGeom>
        </p:spPr>
      </p:pic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995181367"/>
              </p:ext>
            </p:extLst>
          </p:nvPr>
        </p:nvGraphicFramePr>
        <p:xfrm>
          <a:off x="529936" y="1246908"/>
          <a:ext cx="13892645" cy="71177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8" name="Равнобедренный треугольник 7"/>
          <p:cNvSpPr/>
          <p:nvPr/>
        </p:nvSpPr>
        <p:spPr>
          <a:xfrm>
            <a:off x="13325911" y="970821"/>
            <a:ext cx="736605" cy="736605"/>
          </a:xfrm>
          <a:prstGeom prst="triangle">
            <a:avLst>
              <a:gd name="adj" fmla="val 100000"/>
            </a:avLst>
          </a:prstGeom>
          <a:solidFill>
            <a:schemeClr val="accent1">
              <a:lumMod val="50000"/>
            </a:schemeClr>
          </a:soli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872314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Рисунок 4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018" y="244406"/>
            <a:ext cx="1774766" cy="807358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4504728" y="122952"/>
            <a:ext cx="7855318" cy="625944"/>
          </a:xfrm>
          <a:prstGeom prst="rect">
            <a:avLst/>
          </a:prstGeom>
          <a:noFill/>
        </p:spPr>
        <p:txBody>
          <a:bodyPr wrap="none" lIns="59060" tIns="29530" rIns="0" bIns="29530" rtlCol="0" anchor="ctr">
            <a:noAutofit/>
          </a:bodyPr>
          <a:lstStyle/>
          <a:p>
            <a:pPr lvl="0">
              <a:defRPr/>
            </a:pPr>
            <a:r>
              <a:rPr lang="ru-RU" sz="2400" b="1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ЗАКУПКИ КРУПНЕЙШИМИ ЗАКАЗЧИКАМИ У СУБЪЕКТОВ МСП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713201" y="3958936"/>
            <a:ext cx="9904377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319658" y="7665154"/>
            <a:ext cx="10321730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defRPr/>
            </a:pPr>
            <a:r>
              <a:rPr lang="ru-RU" sz="1200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Источник: результаты оценки и мониторинга соответствия, данные реестра договоров, заключенных по результатам закупок, сведения, размещенные в ЕИС, сведения, полученные от крупнейших заказчиков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5015562" y="4038028"/>
            <a:ext cx="4725913" cy="4006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969" b="1" u="sng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ОСТОЯНИЕ 2017 ГОДА: 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3820841" y="748896"/>
            <a:ext cx="9873202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Прямоугольник 40"/>
          <p:cNvSpPr/>
          <p:nvPr/>
        </p:nvSpPr>
        <p:spPr>
          <a:xfrm>
            <a:off x="3136954" y="6285669"/>
            <a:ext cx="1367774" cy="375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29247">
              <a:lnSpc>
                <a:spcPct val="80000"/>
              </a:lnSpc>
              <a:spcBef>
                <a:spcPct val="0"/>
              </a:spcBef>
            </a:pPr>
            <a:r>
              <a:rPr lang="ru-RU" sz="2297" b="1" dirty="0">
                <a:solidFill>
                  <a:srgbClr val="A2C9F4"/>
                </a:solidFill>
                <a:latin typeface="Arial Narrow" panose="020B0606020202030204" pitchFamily="34" charset="0"/>
              </a:rPr>
              <a:t>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143000" y="5400548"/>
            <a:ext cx="4125191" cy="9664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29247">
              <a:lnSpc>
                <a:spcPct val="90000"/>
              </a:lnSpc>
              <a:spcBef>
                <a:spcPct val="0"/>
              </a:spcBef>
            </a:pPr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ОБЩИЙ ОБЪЕМ </a:t>
            </a:r>
          </a:p>
          <a:p>
            <a:pPr algn="ctr" defTabSz="729247">
              <a:lnSpc>
                <a:spcPct val="90000"/>
              </a:lnSpc>
              <a:spcBef>
                <a:spcPct val="0"/>
              </a:spcBef>
            </a:pPr>
            <a:r>
              <a:rPr lang="ru-RU" sz="1600" b="1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ДОГОВОРОВ</a:t>
            </a:r>
          </a:p>
          <a:p>
            <a:pPr algn="ctr" defTabSz="729247">
              <a:spcBef>
                <a:spcPct val="0"/>
              </a:spcBef>
            </a:pP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(</a:t>
            </a:r>
            <a:r>
              <a:rPr lang="ru-RU" sz="1400" b="1" i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«всеми способами», </a:t>
            </a:r>
            <a:br>
              <a:rPr lang="ru-RU" sz="1400" b="1" i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</a:br>
            <a:r>
              <a:rPr lang="ru-RU" sz="1400" b="1" i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квота </a:t>
            </a:r>
            <a:r>
              <a:rPr lang="ru-RU" sz="1400" b="1" i="1" dirty="0">
                <a:solidFill>
                  <a:srgbClr val="FF0000"/>
                </a:solidFill>
                <a:latin typeface="Arial Narrow" panose="020B0606020202030204" pitchFamily="34" charset="0"/>
              </a:rPr>
              <a:t>18%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)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870136" y="5697612"/>
            <a:ext cx="2702364" cy="5404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29247">
              <a:spcBef>
                <a:spcPct val="0"/>
              </a:spcBef>
            </a:pPr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НОМЕНКЛАТУРА</a:t>
            </a:r>
          </a:p>
          <a:p>
            <a:pPr algn="ctr" defTabSz="729247">
              <a:spcBef>
                <a:spcPct val="0"/>
              </a:spcBef>
            </a:pPr>
            <a:r>
              <a:rPr lang="ru-RU" sz="1312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закупок у субъектов МСП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0150030" y="5410473"/>
            <a:ext cx="2550967" cy="9886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29247">
              <a:spcBef>
                <a:spcPct val="0"/>
              </a:spcBef>
            </a:pPr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ОЖИДАЕМЫЙ ОБЪЕМ </a:t>
            </a:r>
          </a:p>
          <a:p>
            <a:pPr algn="ctr" defTabSz="729247">
              <a:spcBef>
                <a:spcPct val="0"/>
              </a:spcBef>
            </a:pPr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ДОГОВОРОВ  </a:t>
            </a:r>
            <a:r>
              <a:rPr lang="ru-RU" sz="1312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к концу 2017 года  (</a:t>
            </a:r>
            <a:r>
              <a:rPr lang="ru-RU" sz="1312" b="1" i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«всеми способами», </a:t>
            </a:r>
            <a:br>
              <a:rPr lang="ru-RU" sz="1312" b="1" i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</a:br>
            <a:r>
              <a:rPr lang="ru-RU" sz="1312" b="1" i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квота </a:t>
            </a:r>
            <a:r>
              <a:rPr lang="ru-RU" sz="1312" b="1" i="1" dirty="0">
                <a:solidFill>
                  <a:srgbClr val="FF0000"/>
                </a:solidFill>
                <a:latin typeface="Arial Narrow" panose="020B0606020202030204" pitchFamily="34" charset="0"/>
              </a:rPr>
              <a:t>18%</a:t>
            </a:r>
            <a:r>
              <a:rPr lang="ru-RU" sz="1312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)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1908784" y="4419767"/>
            <a:ext cx="11489574" cy="5468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29247">
              <a:lnSpc>
                <a:spcPct val="90000"/>
              </a:lnSpc>
              <a:spcBef>
                <a:spcPct val="0"/>
              </a:spcBef>
            </a:pPr>
            <a:r>
              <a:rPr lang="ru-RU" sz="1641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Актуализированы перечни </a:t>
            </a:r>
            <a:r>
              <a:rPr lang="ru-RU" sz="164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крупнейших заказчиков, в отношении которых Корпорацией МСП и уполномоченными органами исполнительной власти субъектов РФ проводится оценка соответствия и мониторинг соответствия: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5084948" y="851453"/>
            <a:ext cx="4725913" cy="4006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u="sng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ТОГИ 2016 ГОДА: 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5423624" y="1629422"/>
            <a:ext cx="5746455" cy="7104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29247">
              <a:spcBef>
                <a:spcPts val="492"/>
              </a:spcBef>
            </a:pPr>
            <a:r>
              <a:rPr lang="ru-RU" b="1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35</a:t>
            </a:r>
            <a:r>
              <a:rPr lang="ru-RU" sz="1600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 конкретных и </a:t>
            </a:r>
            <a:r>
              <a:rPr lang="ru-RU" b="1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55</a:t>
            </a:r>
            <a:r>
              <a:rPr lang="ru-RU" sz="1600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 отдельных заказчиков федерального уровня  </a:t>
            </a:r>
          </a:p>
          <a:p>
            <a:pPr defTabSz="729247">
              <a:spcBef>
                <a:spcPts val="492"/>
              </a:spcBef>
            </a:pPr>
            <a:r>
              <a:rPr lang="ru-RU" b="1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35</a:t>
            </a:r>
            <a:r>
              <a:rPr lang="ru-RU" sz="1600" b="1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600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заказчиков регионального уровня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0279074" y="8008711"/>
            <a:ext cx="4486407" cy="460041"/>
          </a:xfrm>
        </p:spPr>
        <p:txBody>
          <a:bodyPr/>
          <a:lstStyle/>
          <a:p>
            <a:fld id="{9005E221-E10C-40C7-8143-48F6241B2838}" type="slidenum">
              <a:rPr lang="ru-RU" sz="1200"/>
              <a:pPr/>
              <a:t>3</a:t>
            </a:fld>
            <a:endParaRPr lang="ru-RU" sz="1200" dirty="0"/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1675840" y="6347053"/>
            <a:ext cx="2998896" cy="119884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29247">
              <a:lnSpc>
                <a:spcPct val="80000"/>
              </a:lnSpc>
              <a:spcBef>
                <a:spcPct val="0"/>
              </a:spcBef>
            </a:pPr>
            <a:r>
              <a:rPr lang="ru-RU" sz="3200" b="1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634,3  </a:t>
            </a:r>
            <a:endParaRPr lang="ru-RU" sz="3200" b="1" dirty="0">
              <a:solidFill>
                <a:schemeClr val="accent5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algn="ctr" defTabSz="729247">
              <a:lnSpc>
                <a:spcPct val="80000"/>
              </a:lnSpc>
              <a:spcBef>
                <a:spcPct val="0"/>
              </a:spcBef>
            </a:pPr>
            <a:r>
              <a:rPr lang="ru-RU" sz="1969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млрд рублей</a:t>
            </a:r>
            <a:endParaRPr lang="ru-RU" sz="1969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5864273" y="6357341"/>
            <a:ext cx="2916045" cy="118855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29247">
              <a:lnSpc>
                <a:spcPct val="80000"/>
              </a:lnSpc>
              <a:spcBef>
                <a:spcPct val="0"/>
              </a:spcBef>
            </a:pPr>
            <a:r>
              <a:rPr lang="ru-RU" sz="2625" b="1" dirty="0">
                <a:solidFill>
                  <a:srgbClr val="A2C9F4"/>
                </a:solidFill>
                <a:latin typeface="Arial Narrow" panose="020B0606020202030204" pitchFamily="34" charset="0"/>
              </a:rPr>
              <a:t> </a:t>
            </a:r>
          </a:p>
          <a:p>
            <a:pPr algn="ctr" defTabSz="729247">
              <a:lnSpc>
                <a:spcPct val="80000"/>
              </a:lnSpc>
              <a:spcBef>
                <a:spcPct val="0"/>
              </a:spcBef>
            </a:pPr>
            <a:r>
              <a:rPr lang="ru-RU" sz="3200" b="1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121 510</a:t>
            </a:r>
            <a:endParaRPr lang="ru-RU" sz="3200" b="1" dirty="0">
              <a:solidFill>
                <a:schemeClr val="accent5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algn="ctr" defTabSz="729247">
              <a:lnSpc>
                <a:spcPct val="80000"/>
              </a:lnSpc>
              <a:spcBef>
                <a:spcPct val="0"/>
              </a:spcBef>
            </a:pPr>
            <a:r>
              <a:rPr lang="ru-RU" sz="1969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позиций</a:t>
            </a:r>
          </a:p>
          <a:p>
            <a:pPr algn="ctr" defTabSz="729247">
              <a:lnSpc>
                <a:spcPct val="80000"/>
              </a:lnSpc>
              <a:spcBef>
                <a:spcPct val="0"/>
              </a:spcBef>
            </a:pPr>
            <a:endParaRPr lang="ru-RU" sz="2297" dirty="0"/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10089573" y="6389126"/>
            <a:ext cx="2885936" cy="115676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29247">
              <a:lnSpc>
                <a:spcPct val="80000"/>
              </a:lnSpc>
              <a:spcBef>
                <a:spcPct val="0"/>
              </a:spcBef>
            </a:pPr>
            <a:endParaRPr lang="ru-RU" sz="2625" b="1" dirty="0">
              <a:solidFill>
                <a:srgbClr val="A2C9F4"/>
              </a:solidFill>
              <a:latin typeface="Arial Narrow" panose="020B0606020202030204" pitchFamily="34" charset="0"/>
            </a:endParaRPr>
          </a:p>
          <a:p>
            <a:pPr algn="ctr" defTabSz="729247">
              <a:lnSpc>
                <a:spcPct val="80000"/>
              </a:lnSpc>
              <a:spcBef>
                <a:spcPct val="0"/>
              </a:spcBef>
            </a:pPr>
            <a:r>
              <a:rPr lang="ru-RU" sz="3200" b="1" dirty="0">
                <a:solidFill>
                  <a:srgbClr val="A2C9F4"/>
                </a:solidFill>
                <a:latin typeface="Arial Narrow" panose="020B0606020202030204" pitchFamily="34" charset="0"/>
              </a:rPr>
              <a:t> </a:t>
            </a:r>
            <a:r>
              <a:rPr lang="ru-RU" sz="3200" b="1" dirty="0">
                <a:solidFill>
                  <a:srgbClr val="FF0000"/>
                </a:solidFill>
                <a:latin typeface="Arial Narrow" panose="020B0606020202030204" pitchFamily="34" charset="0"/>
              </a:rPr>
              <a:t>1,6 </a:t>
            </a:r>
            <a:br>
              <a:rPr lang="ru-RU" sz="3200" b="1" dirty="0">
                <a:solidFill>
                  <a:srgbClr val="FF0000"/>
                </a:solidFill>
                <a:latin typeface="Arial Narrow" panose="020B0606020202030204" pitchFamily="34" charset="0"/>
              </a:rPr>
            </a:br>
            <a:r>
              <a:rPr lang="ru-RU" sz="2297" b="1" dirty="0">
                <a:solidFill>
                  <a:srgbClr val="FF0000"/>
                </a:solidFill>
                <a:latin typeface="Arial Narrow" panose="020B0606020202030204" pitchFamily="34" charset="0"/>
              </a:rPr>
              <a:t>трлн рублей </a:t>
            </a:r>
          </a:p>
          <a:p>
            <a:pPr algn="ctr" defTabSz="729247">
              <a:lnSpc>
                <a:spcPct val="80000"/>
              </a:lnSpc>
              <a:spcBef>
                <a:spcPct val="0"/>
              </a:spcBef>
            </a:pPr>
            <a:endParaRPr lang="ru-RU" sz="2297" dirty="0"/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3201" y="4898899"/>
            <a:ext cx="358226" cy="358226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3200" y="5214785"/>
            <a:ext cx="358226" cy="358226"/>
          </a:xfrm>
          <a:prstGeom prst="rect">
            <a:avLst/>
          </a:prstGeom>
        </p:spPr>
      </p:pic>
      <p:sp>
        <p:nvSpPr>
          <p:cNvPr id="26" name="Прямоугольник 25"/>
          <p:cNvSpPr/>
          <p:nvPr/>
        </p:nvSpPr>
        <p:spPr>
          <a:xfrm>
            <a:off x="2231409" y="1285164"/>
            <a:ext cx="11166949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29247">
              <a:lnSpc>
                <a:spcPct val="90000"/>
              </a:lnSpc>
              <a:spcBef>
                <a:spcPct val="0"/>
              </a:spcBef>
            </a:pPr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Создана </a:t>
            </a:r>
            <a:r>
              <a:rPr lang="ru-RU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двухуровневая система контроля 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обеспечения доступа субъектов МСП к закупкам крупнейших заказчиков</a:t>
            </a:r>
            <a:r>
              <a:rPr lang="ru-RU" sz="164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: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5369491" y="4867549"/>
            <a:ext cx="5746455" cy="7104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29247">
              <a:spcBef>
                <a:spcPts val="492"/>
              </a:spcBef>
            </a:pPr>
            <a:r>
              <a:rPr lang="ru-RU" b="1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56</a:t>
            </a:r>
            <a:r>
              <a:rPr lang="ru-RU" sz="1477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 конкретных и </a:t>
            </a:r>
            <a:r>
              <a:rPr lang="ru-RU" b="1" i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54</a:t>
            </a:r>
            <a:r>
              <a:rPr lang="ru-RU" sz="1477" i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477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тдельных заказчиков федерального уровня  </a:t>
            </a:r>
          </a:p>
          <a:p>
            <a:pPr defTabSz="729247">
              <a:spcBef>
                <a:spcPts val="492"/>
              </a:spcBef>
            </a:pPr>
            <a:r>
              <a:rPr lang="ru-RU" b="1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90 </a:t>
            </a:r>
            <a:r>
              <a:rPr lang="ru-RU" sz="1477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заказчиков регионального уровня</a:t>
            </a:r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7034" y="1610713"/>
            <a:ext cx="358226" cy="358226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7034" y="1927634"/>
            <a:ext cx="358226" cy="358226"/>
          </a:xfrm>
          <a:prstGeom prst="rect">
            <a:avLst/>
          </a:prstGeom>
        </p:spPr>
      </p:pic>
      <p:grpSp>
        <p:nvGrpSpPr>
          <p:cNvPr id="36" name="Группа 35"/>
          <p:cNvGrpSpPr/>
          <p:nvPr/>
        </p:nvGrpSpPr>
        <p:grpSpPr>
          <a:xfrm>
            <a:off x="1626358" y="2321673"/>
            <a:ext cx="3439017" cy="1689415"/>
            <a:chOff x="0" y="0"/>
            <a:chExt cx="3439017" cy="1689415"/>
          </a:xfrm>
        </p:grpSpPr>
        <p:sp>
          <p:nvSpPr>
            <p:cNvPr id="37" name="Скругленный прямоугольник 36"/>
            <p:cNvSpPr/>
            <p:nvPr/>
          </p:nvSpPr>
          <p:spPr>
            <a:xfrm>
              <a:off x="0" y="0"/>
              <a:ext cx="3439017" cy="1689415"/>
            </a:xfrm>
            <a:prstGeom prst="roundRect">
              <a:avLst>
                <a:gd name="adj" fmla="val 10000"/>
              </a:avLst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8" name="Скругленный прямоугольник 4"/>
            <p:cNvSpPr txBox="1"/>
            <p:nvPr/>
          </p:nvSpPr>
          <p:spPr>
            <a:xfrm>
              <a:off x="49481" y="49481"/>
              <a:ext cx="3340055" cy="159045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76200" rIns="76200" bIns="76200" numCol="1" spcCol="1270" anchor="ctr" anchorCtr="0">
              <a:noAutofit/>
            </a:bodyPr>
            <a:lstStyle/>
            <a:p>
              <a:pPr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b="1" dirty="0">
                  <a:latin typeface="Arial Narrow" panose="020B0606020202030204" pitchFamily="34" charset="0"/>
                </a:rPr>
                <a:t>ОБЩИЙ ОБЪЕМ ДОГОВОРОВ</a:t>
              </a:r>
            </a:p>
            <a:p>
              <a:pPr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500" dirty="0">
                  <a:latin typeface="Arial Narrow" panose="020B0606020202030204" pitchFamily="34" charset="0"/>
                </a:rPr>
                <a:t>(всеми способами, квота </a:t>
              </a:r>
              <a:r>
                <a:rPr lang="ru-RU" sz="1500" b="1" dirty="0">
                  <a:solidFill>
                    <a:srgbClr val="FF0000"/>
                  </a:solidFill>
                  <a:latin typeface="Arial Narrow" panose="020B0606020202030204" pitchFamily="34" charset="0"/>
                </a:rPr>
                <a:t>18 %</a:t>
              </a:r>
              <a:r>
                <a:rPr lang="ru-RU" sz="1500" dirty="0">
                  <a:latin typeface="Arial Narrow" panose="020B0606020202030204" pitchFamily="34" charset="0"/>
                </a:rPr>
                <a:t>, на основании данных реестра договоров ЕИС и Единого реестра субъектов МСП) </a:t>
              </a:r>
              <a:br>
                <a:rPr lang="ru-RU" sz="1500" dirty="0">
                  <a:latin typeface="Arial Narrow" panose="020B0606020202030204" pitchFamily="34" charset="0"/>
                </a:rPr>
              </a:br>
              <a:r>
                <a:rPr lang="ru-RU" sz="28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1,511 </a:t>
              </a:r>
              <a:r>
                <a:rPr lang="ru-RU" sz="24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трлн рублей </a:t>
              </a:r>
            </a:p>
          </p:txBody>
        </p:sp>
      </p:grpSp>
      <p:grpSp>
        <p:nvGrpSpPr>
          <p:cNvPr id="39" name="Группа 38"/>
          <p:cNvGrpSpPr/>
          <p:nvPr/>
        </p:nvGrpSpPr>
        <p:grpSpPr>
          <a:xfrm>
            <a:off x="8077812" y="2215207"/>
            <a:ext cx="2577730" cy="1775841"/>
            <a:chOff x="4459276" y="-120385"/>
            <a:chExt cx="3439017" cy="1775841"/>
          </a:xfrm>
        </p:grpSpPr>
        <p:sp>
          <p:nvSpPr>
            <p:cNvPr id="40" name="Скругленный прямоугольник 39"/>
            <p:cNvSpPr/>
            <p:nvPr/>
          </p:nvSpPr>
          <p:spPr>
            <a:xfrm>
              <a:off x="4459276" y="-33959"/>
              <a:ext cx="3439017" cy="1689415"/>
            </a:xfrm>
            <a:prstGeom prst="roundRect">
              <a:avLst>
                <a:gd name="adj" fmla="val 10000"/>
              </a:avLst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2" name="Скругленный прямоугольник 4"/>
            <p:cNvSpPr txBox="1"/>
            <p:nvPr/>
          </p:nvSpPr>
          <p:spPr>
            <a:xfrm>
              <a:off x="4508756" y="-120385"/>
              <a:ext cx="3334049" cy="159045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76200" rIns="76200" bIns="76200" numCol="1" spcCol="1270" anchor="ctr" anchorCtr="0">
              <a:noAutofit/>
            </a:bodyPr>
            <a:lstStyle/>
            <a:p>
              <a:pPr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000" b="1" dirty="0">
                <a:latin typeface="Arial Narrow" panose="020B0606020202030204" pitchFamily="34" charset="0"/>
              </a:endParaRPr>
            </a:p>
            <a:p>
              <a:pPr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b="1" dirty="0">
                  <a:latin typeface="Arial Narrow" panose="020B0606020202030204" pitchFamily="34" charset="0"/>
                </a:rPr>
                <a:t>СРЕДНЯЯ ДОЛЯ</a:t>
              </a:r>
            </a:p>
            <a:p>
              <a:pPr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500" dirty="0">
                  <a:latin typeface="Arial Narrow" panose="020B0606020202030204" pitchFamily="34" charset="0"/>
                </a:rPr>
                <a:t>прямых закупок («спецторги», квота </a:t>
              </a:r>
              <a:r>
                <a:rPr lang="ru-RU" sz="1500" b="1" dirty="0">
                  <a:solidFill>
                    <a:srgbClr val="FF0000"/>
                  </a:solidFill>
                  <a:latin typeface="Arial Narrow" panose="020B0606020202030204" pitchFamily="34" charset="0"/>
                </a:rPr>
                <a:t>10 %</a:t>
              </a:r>
              <a:r>
                <a:rPr lang="ru-RU" sz="1500" dirty="0">
                  <a:latin typeface="Arial Narrow" panose="020B0606020202030204" pitchFamily="34" charset="0"/>
                </a:rPr>
                <a:t>)</a:t>
              </a:r>
            </a:p>
            <a:p>
              <a:pPr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050" b="1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  <a:p>
              <a:pPr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8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24,4 </a:t>
              </a:r>
              <a:r>
                <a:rPr lang="ru-RU" sz="28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%</a:t>
              </a:r>
            </a:p>
          </p:txBody>
        </p:sp>
      </p:grpSp>
      <p:grpSp>
        <p:nvGrpSpPr>
          <p:cNvPr id="43" name="Группа 42"/>
          <p:cNvGrpSpPr/>
          <p:nvPr/>
        </p:nvGrpSpPr>
        <p:grpSpPr>
          <a:xfrm>
            <a:off x="10800184" y="2292491"/>
            <a:ext cx="2692739" cy="1711352"/>
            <a:chOff x="9043577" y="-48907"/>
            <a:chExt cx="2791239" cy="1711352"/>
          </a:xfrm>
        </p:grpSpPr>
        <p:sp>
          <p:nvSpPr>
            <p:cNvPr id="44" name="Скругленный прямоугольник 43"/>
            <p:cNvSpPr/>
            <p:nvPr/>
          </p:nvSpPr>
          <p:spPr>
            <a:xfrm>
              <a:off x="9043577" y="-48907"/>
              <a:ext cx="2791239" cy="1689415"/>
            </a:xfrm>
            <a:prstGeom prst="roundRect">
              <a:avLst>
                <a:gd name="adj" fmla="val 10000"/>
              </a:avLst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5" name="Скругленный прямоугольник 4"/>
            <p:cNvSpPr txBox="1"/>
            <p:nvPr/>
          </p:nvSpPr>
          <p:spPr>
            <a:xfrm>
              <a:off x="9236622" y="71992"/>
              <a:ext cx="2405149" cy="159045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76200" rIns="76200" bIns="76200" numCol="1" spcCol="1270" anchor="ctr" anchorCtr="0">
              <a:noAutofit/>
            </a:bodyPr>
            <a:lstStyle/>
            <a:p>
              <a:pPr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b="1" dirty="0">
                  <a:latin typeface="Arial Narrow" panose="020B0606020202030204" pitchFamily="34" charset="0"/>
                </a:rPr>
                <a:t>НОМЕНКЛАТУРА</a:t>
              </a:r>
            </a:p>
            <a:p>
              <a:pPr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500" dirty="0">
                  <a:latin typeface="Arial Narrow" panose="020B0606020202030204" pitchFamily="34" charset="0"/>
                </a:rPr>
                <a:t>Расширена по сравнению с 2015 годом с </a:t>
              </a:r>
              <a:r>
                <a:rPr lang="ru-RU" sz="2400" dirty="0">
                  <a:latin typeface="Arial Narrow" panose="020B0606020202030204" pitchFamily="34" charset="0"/>
                </a:rPr>
                <a:t>8,4 </a:t>
              </a:r>
              <a:r>
                <a:rPr lang="ru-RU" sz="1500" dirty="0">
                  <a:latin typeface="Arial Narrow" panose="020B0606020202030204" pitchFamily="34" charset="0"/>
                </a:rPr>
                <a:t>тысяч до </a:t>
              </a:r>
              <a:r>
                <a:rPr lang="ru-RU" sz="28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100 </a:t>
              </a:r>
              <a:r>
                <a:rPr lang="ru-RU" sz="1500" dirty="0">
                  <a:latin typeface="Arial Narrow" panose="020B0606020202030204" pitchFamily="34" charset="0"/>
                </a:rPr>
                <a:t>тысяч позиций</a:t>
              </a:r>
            </a:p>
          </p:txBody>
        </p:sp>
      </p:grpSp>
      <p:sp>
        <p:nvSpPr>
          <p:cNvPr id="13" name="Скругленный прямоугольник 12"/>
          <p:cNvSpPr/>
          <p:nvPr/>
        </p:nvSpPr>
        <p:spPr>
          <a:xfrm>
            <a:off x="5177035" y="2354908"/>
            <a:ext cx="2789117" cy="1622942"/>
          </a:xfrm>
          <a:prstGeom prst="round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 b="1" dirty="0">
              <a:latin typeface="Arial Narrow" panose="020B0606020202030204" pitchFamily="34" charset="0"/>
            </a:endParaRPr>
          </a:p>
          <a:p>
            <a:pPr algn="ctr"/>
            <a:r>
              <a:rPr lang="ru-RU" sz="2000" b="1" dirty="0">
                <a:latin typeface="Arial Narrow" panose="020B0606020202030204" pitchFamily="34" charset="0"/>
              </a:rPr>
              <a:t>СРЕДНЯЯ ДОЛЯ</a:t>
            </a:r>
          </a:p>
          <a:p>
            <a:pPr algn="ctr"/>
            <a:r>
              <a:rPr lang="ru-RU" sz="1500" dirty="0">
                <a:latin typeface="Arial Narrow" panose="020B0606020202030204" pitchFamily="34" charset="0"/>
              </a:rPr>
              <a:t>закупок («всеми способами»,</a:t>
            </a:r>
          </a:p>
          <a:p>
            <a:pPr algn="ctr"/>
            <a:r>
              <a:rPr lang="ru-RU" sz="1500" dirty="0">
                <a:latin typeface="Arial Narrow" panose="020B0606020202030204" pitchFamily="34" charset="0"/>
              </a:rPr>
              <a:t> квота </a:t>
            </a:r>
            <a:r>
              <a:rPr lang="ru-RU" sz="1500" b="1" dirty="0">
                <a:solidFill>
                  <a:srgbClr val="FF0000"/>
                </a:solidFill>
                <a:latin typeface="Arial Narrow" panose="020B0606020202030204" pitchFamily="34" charset="0"/>
              </a:rPr>
              <a:t>18 %</a:t>
            </a:r>
            <a:r>
              <a:rPr lang="ru-RU" sz="1500" dirty="0">
                <a:latin typeface="Arial Narrow" panose="020B0606020202030204" pitchFamily="34" charset="0"/>
              </a:rPr>
              <a:t>)</a:t>
            </a:r>
          </a:p>
          <a:p>
            <a:pPr algn="ctr"/>
            <a:endParaRPr lang="ru-RU" sz="1100" dirty="0">
              <a:latin typeface="Arial Narrow" panose="020B0606020202030204" pitchFamily="34" charset="0"/>
            </a:endParaRPr>
          </a:p>
          <a:p>
            <a:pPr algn="ctr"/>
            <a:r>
              <a:rPr lang="ru-RU" sz="2800" b="1" dirty="0">
                <a:solidFill>
                  <a:schemeClr val="bg1"/>
                </a:solidFill>
                <a:latin typeface="Arial Narrow" panose="020B0606020202030204" pitchFamily="34" charset="0"/>
              </a:rPr>
              <a:t>62,2%</a:t>
            </a:r>
          </a:p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65743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067355" y="8055896"/>
            <a:ext cx="4088016" cy="606605"/>
          </a:xfrm>
        </p:spPr>
        <p:txBody>
          <a:bodyPr/>
          <a:lstStyle/>
          <a:p>
            <a:fld id="{9005E221-E10C-40C7-8143-48F6241B2838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3558204" y="458171"/>
            <a:ext cx="10662803" cy="763365"/>
          </a:xfrm>
          <a:prstGeom prst="rect">
            <a:avLst/>
          </a:prstGeom>
          <a:noFill/>
        </p:spPr>
        <p:txBody>
          <a:bodyPr wrap="square" lIns="59060" tIns="29530" rIns="0" bIns="29530" rtlCol="0">
            <a:noAutofit/>
          </a:bodyPr>
          <a:lstStyle/>
          <a:p>
            <a:pPr algn="ctr"/>
            <a:endParaRPr lang="ru-RU" sz="1969" b="1" dirty="0">
              <a:solidFill>
                <a:srgbClr val="00206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666" y="232631"/>
            <a:ext cx="1774766" cy="761513"/>
          </a:xfrm>
          <a:prstGeom prst="rect">
            <a:avLst/>
          </a:prstGeom>
        </p:spPr>
      </p:pic>
      <p:cxnSp>
        <p:nvCxnSpPr>
          <p:cNvPr id="24" name="Прямая соединительная линия 23"/>
          <p:cNvCxnSpPr/>
          <p:nvPr/>
        </p:nvCxnSpPr>
        <p:spPr>
          <a:xfrm flipV="1">
            <a:off x="2153933" y="1229091"/>
            <a:ext cx="9265676" cy="22662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Скругленный прямоугольник 34"/>
          <p:cNvSpPr/>
          <p:nvPr/>
        </p:nvSpPr>
        <p:spPr>
          <a:xfrm>
            <a:off x="5627896" y="3514643"/>
            <a:ext cx="3722835" cy="1175567"/>
          </a:xfrm>
          <a:prstGeom prst="roundRect">
            <a:avLst>
              <a:gd name="adj" fmla="val 10000"/>
            </a:avLst>
          </a:prstGeom>
          <a:solidFill>
            <a:schemeClr val="accent5">
              <a:lumMod val="40000"/>
              <a:lumOff val="60000"/>
              <a:alpha val="57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9183" tIns="89183" rIns="89183" bIns="89183" numCol="1" spcCol="1270" anchor="ctr" anchorCtr="0">
            <a:noAutofit/>
          </a:bodyPr>
          <a:lstStyle/>
          <a:p>
            <a:pPr algn="ctr"/>
            <a:r>
              <a:rPr lang="ru-RU" sz="2000" b="1" dirty="0">
                <a:solidFill>
                  <a:srgbClr val="002060"/>
                </a:solidFill>
                <a:latin typeface="Arial Narrow" panose="020B0606020202030204" pitchFamily="34" charset="0"/>
              </a:rPr>
              <a:t>ОБЪЕМ ЗАКЛЮЧЕННЫХ ДОГОВОРОВ</a:t>
            </a:r>
          </a:p>
          <a:p>
            <a:pPr algn="ctr"/>
            <a:endParaRPr lang="ru-RU" sz="4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,198 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рд рублей </a:t>
            </a:r>
          </a:p>
        </p:txBody>
      </p:sp>
      <p:sp>
        <p:nvSpPr>
          <p:cNvPr id="38" name="Полилиния 37"/>
          <p:cNvSpPr/>
          <p:nvPr/>
        </p:nvSpPr>
        <p:spPr>
          <a:xfrm>
            <a:off x="9472823" y="3502479"/>
            <a:ext cx="3166859" cy="1199894"/>
          </a:xfrm>
          <a:custGeom>
            <a:avLst/>
            <a:gdLst>
              <a:gd name="connsiteX0" fmla="*/ 0 w 2915613"/>
              <a:gd name="connsiteY0" fmla="*/ 125383 h 1253828"/>
              <a:gd name="connsiteX1" fmla="*/ 125383 w 2915613"/>
              <a:gd name="connsiteY1" fmla="*/ 0 h 1253828"/>
              <a:gd name="connsiteX2" fmla="*/ 2790230 w 2915613"/>
              <a:gd name="connsiteY2" fmla="*/ 0 h 1253828"/>
              <a:gd name="connsiteX3" fmla="*/ 2915613 w 2915613"/>
              <a:gd name="connsiteY3" fmla="*/ 125383 h 1253828"/>
              <a:gd name="connsiteX4" fmla="*/ 2915613 w 2915613"/>
              <a:gd name="connsiteY4" fmla="*/ 1128445 h 1253828"/>
              <a:gd name="connsiteX5" fmla="*/ 2790230 w 2915613"/>
              <a:gd name="connsiteY5" fmla="*/ 1253828 h 1253828"/>
              <a:gd name="connsiteX6" fmla="*/ 125383 w 2915613"/>
              <a:gd name="connsiteY6" fmla="*/ 1253828 h 1253828"/>
              <a:gd name="connsiteX7" fmla="*/ 0 w 2915613"/>
              <a:gd name="connsiteY7" fmla="*/ 1128445 h 1253828"/>
              <a:gd name="connsiteX8" fmla="*/ 0 w 2915613"/>
              <a:gd name="connsiteY8" fmla="*/ 125383 h 12538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5613" h="1253828">
                <a:moveTo>
                  <a:pt x="0" y="125383"/>
                </a:moveTo>
                <a:cubicBezTo>
                  <a:pt x="0" y="56136"/>
                  <a:pt x="56136" y="0"/>
                  <a:pt x="125383" y="0"/>
                </a:cubicBezTo>
                <a:lnTo>
                  <a:pt x="2790230" y="0"/>
                </a:lnTo>
                <a:cubicBezTo>
                  <a:pt x="2859477" y="0"/>
                  <a:pt x="2915613" y="56136"/>
                  <a:pt x="2915613" y="125383"/>
                </a:cubicBezTo>
                <a:lnTo>
                  <a:pt x="2915613" y="1128445"/>
                </a:lnTo>
                <a:cubicBezTo>
                  <a:pt x="2915613" y="1197692"/>
                  <a:pt x="2859477" y="1253828"/>
                  <a:pt x="2790230" y="1253828"/>
                </a:cubicBezTo>
                <a:lnTo>
                  <a:pt x="125383" y="1253828"/>
                </a:lnTo>
                <a:cubicBezTo>
                  <a:pt x="56136" y="1253828"/>
                  <a:pt x="0" y="1197692"/>
                  <a:pt x="0" y="1128445"/>
                </a:cubicBezTo>
                <a:lnTo>
                  <a:pt x="0" y="125383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  <a:alpha val="76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9183" tIns="89183" rIns="89183" bIns="89183" numCol="1" spcCol="1270" anchor="ctr" anchorCtr="0">
            <a:noAutofit/>
          </a:bodyPr>
          <a:lstStyle/>
          <a:p>
            <a:pPr algn="ctr"/>
            <a:r>
              <a:rPr lang="ru-RU" sz="2000" b="1" dirty="0">
                <a:solidFill>
                  <a:srgbClr val="002060"/>
                </a:solidFill>
                <a:latin typeface="Arial Narrow" panose="020B0606020202030204" pitchFamily="34" charset="0"/>
              </a:rPr>
              <a:t>СРЕДНЯЯ ДОЛЯ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 Narrow" panose="020B0606020202030204" pitchFamily="34" charset="0"/>
              </a:rPr>
              <a:t>закупок </a:t>
            </a:r>
            <a:r>
              <a:rPr lang="ru-RU" sz="11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(«</a:t>
            </a:r>
            <a:r>
              <a:rPr lang="ru-RU" sz="1100" b="1" dirty="0">
                <a:solidFill>
                  <a:srgbClr val="002060"/>
                </a:solidFill>
                <a:latin typeface="Arial Narrow" panose="020B0606020202030204" pitchFamily="34" charset="0"/>
              </a:rPr>
              <a:t>всеми способами</a:t>
            </a:r>
            <a:r>
              <a:rPr lang="ru-RU" sz="11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», квота </a:t>
            </a:r>
            <a:r>
              <a:rPr lang="ru-RU" sz="1100" b="1" dirty="0">
                <a:solidFill>
                  <a:srgbClr val="FF0000"/>
                </a:solidFill>
                <a:latin typeface="Arial Narrow" panose="020B0606020202030204" pitchFamily="34" charset="0"/>
              </a:rPr>
              <a:t>18 </a:t>
            </a:r>
            <a:r>
              <a:rPr lang="ru-RU" sz="11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%</a:t>
            </a:r>
            <a:r>
              <a:rPr lang="ru-RU" sz="11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)</a:t>
            </a:r>
            <a:endParaRPr lang="ru-RU" sz="11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7,13%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Пятиугольник 40"/>
          <p:cNvSpPr/>
          <p:nvPr/>
        </p:nvSpPr>
        <p:spPr>
          <a:xfrm>
            <a:off x="290930" y="3537889"/>
            <a:ext cx="5214874" cy="1110787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rgbClr val="A2C9F4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 defTabSz="729247">
              <a:lnSpc>
                <a:spcPct val="90000"/>
              </a:lnSpc>
              <a:spcBef>
                <a:spcPct val="0"/>
              </a:spcBef>
            </a:pPr>
            <a:r>
              <a:rPr lang="ru-RU" sz="2400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 </a:t>
            </a:r>
            <a:r>
              <a:rPr lang="ru-RU" sz="2400" b="1" dirty="0">
                <a:solidFill>
                  <a:srgbClr val="FF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2016 году</a:t>
            </a:r>
          </a:p>
          <a:p>
            <a:pPr algn="ctr" defTabSz="729247">
              <a:lnSpc>
                <a:spcPct val="90000"/>
              </a:lnSpc>
              <a:spcBef>
                <a:spcPct val="0"/>
              </a:spcBef>
            </a:pPr>
            <a:r>
              <a:rPr lang="ru-RU" sz="2000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 отношении </a:t>
            </a:r>
            <a:r>
              <a:rPr 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5 </a:t>
            </a:r>
            <a:r>
              <a:rPr lang="ru-RU" sz="2000" b="1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конкретных </a:t>
            </a:r>
            <a:r>
              <a:rPr 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заказчиков </a:t>
            </a:r>
            <a:r>
              <a:rPr lang="ru-RU" sz="2000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егионального уровня</a:t>
            </a:r>
            <a:endParaRPr lang="ru-RU" sz="2000" dirty="0">
              <a:solidFill>
                <a:srgbClr val="00206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97546" y="2516776"/>
            <a:ext cx="146475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2400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роведение </a:t>
            </a:r>
            <a:r>
              <a:rPr lang="ru-RU" sz="24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епартаментом </a:t>
            </a:r>
            <a:r>
              <a:rPr lang="ru-RU" sz="2400" b="1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о регулированию контрактной системы Краснодарского края </a:t>
            </a:r>
            <a:r>
              <a:rPr lang="ru-RU" sz="2400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ценки соответствия: </a:t>
            </a:r>
            <a:endParaRPr lang="ru-RU" sz="2400" dirty="0">
              <a:solidFill>
                <a:srgbClr val="00206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4" name="Овал 43"/>
          <p:cNvSpPr/>
          <p:nvPr/>
        </p:nvSpPr>
        <p:spPr>
          <a:xfrm>
            <a:off x="11715078" y="3951854"/>
            <a:ext cx="3564256" cy="1901111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000" b="1" i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Лидер</a:t>
            </a:r>
            <a:r>
              <a:rPr lang="ru-RU" sz="2000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-</a:t>
            </a:r>
            <a:br>
              <a:rPr lang="ru-RU" sz="2000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</a:br>
            <a:r>
              <a:rPr lang="ru-RU" b="1" i="1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b="1" i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ГУП «</a:t>
            </a:r>
            <a:r>
              <a:rPr lang="ru-RU" b="1" i="1" dirty="0" err="1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Кубаньфармация</a:t>
            </a:r>
            <a:r>
              <a:rPr lang="ru-RU" b="1" i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» </a:t>
            </a: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(</a:t>
            </a: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2,8</a:t>
            </a: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лрд </a:t>
            </a: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ублей, </a:t>
            </a:r>
            <a:b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</a:b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53,5%</a:t>
            </a: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от </a:t>
            </a:r>
            <a:r>
              <a:rPr lang="ru-RU" sz="1600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бщего объема </a:t>
            </a: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закупок региональных заказчиков Краснодарского края)</a:t>
            </a:r>
            <a:endParaRPr lang="ru-RU" sz="1600" dirty="0">
              <a:solidFill>
                <a:srgbClr val="00206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259106" y="336353"/>
            <a:ext cx="11909948" cy="895859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pPr>
              <a:defRPr/>
            </a:pPr>
            <a:r>
              <a:rPr lang="ru-RU" sz="2625" b="1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ЗАКУПКИ У СУБЪЕКТОВ </a:t>
            </a:r>
            <a:r>
              <a:rPr lang="ru-RU" sz="2625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СП КРУПНЕЙШИМИ ЗАКАЗЧИКАМИ </a:t>
            </a:r>
            <a:br>
              <a:rPr lang="ru-RU" sz="2625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</a:br>
            <a:r>
              <a:rPr lang="ru-RU" sz="2625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 ТЕРРИТОРИИ КРАСНОДАРСКОГО КРАЯ</a:t>
            </a:r>
            <a:endParaRPr lang="ru-RU" sz="2625" b="1" dirty="0">
              <a:solidFill>
                <a:srgbClr val="00206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771513" y="4778705"/>
            <a:ext cx="12339850" cy="7325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56322">
              <a:lnSpc>
                <a:spcPct val="80000"/>
              </a:lnSpc>
              <a:spcBef>
                <a:spcPct val="0"/>
              </a:spcBef>
            </a:pPr>
            <a:r>
              <a:rPr lang="ru-RU" sz="2800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Краснодарский край </a:t>
            </a:r>
            <a:r>
              <a:rPr lang="ru-RU" sz="2800" b="1" dirty="0">
                <a:solidFill>
                  <a:srgbClr val="FF0000"/>
                </a:solidFill>
                <a:latin typeface="Arial Narrow" panose="020B0606020202030204" pitchFamily="34" charset="0"/>
              </a:rPr>
              <a:t>занимает </a:t>
            </a:r>
            <a:r>
              <a:rPr lang="ru-RU" sz="28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1 </a:t>
            </a:r>
            <a:r>
              <a:rPr lang="ru-RU" sz="2800" b="1" dirty="0">
                <a:solidFill>
                  <a:srgbClr val="FF0000"/>
                </a:solidFill>
                <a:latin typeface="Arial Narrow" panose="020B0606020202030204" pitchFamily="34" charset="0"/>
              </a:rPr>
              <a:t>место </a:t>
            </a:r>
            <a:endParaRPr lang="ru-RU" sz="2800" b="1" dirty="0" smtClean="0">
              <a:solidFill>
                <a:srgbClr val="FF0000"/>
              </a:solidFill>
              <a:latin typeface="Arial Narrow" panose="020B0606020202030204" pitchFamily="34" charset="0"/>
            </a:endParaRPr>
          </a:p>
          <a:p>
            <a:pPr algn="ctr" defTabSz="656322">
              <a:lnSpc>
                <a:spcPct val="80000"/>
              </a:lnSpc>
              <a:spcBef>
                <a:spcPct val="0"/>
              </a:spcBef>
            </a:pPr>
            <a:r>
              <a:rPr lang="ru-RU" sz="24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среди субъектов РФ ЮФО </a:t>
            </a:r>
            <a:r>
              <a:rPr lang="ru-RU" sz="2400" b="1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по объему закупок у субъектов МСП в 2016 году</a:t>
            </a:r>
            <a:endParaRPr lang="ru-RU" sz="2400" dirty="0">
              <a:solidFill>
                <a:schemeClr val="accent5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7" name="Полилиния 26"/>
          <p:cNvSpPr/>
          <p:nvPr/>
        </p:nvSpPr>
        <p:spPr>
          <a:xfrm>
            <a:off x="9433058" y="6303173"/>
            <a:ext cx="3166859" cy="1199894"/>
          </a:xfrm>
          <a:custGeom>
            <a:avLst/>
            <a:gdLst>
              <a:gd name="connsiteX0" fmla="*/ 0 w 2915613"/>
              <a:gd name="connsiteY0" fmla="*/ 125383 h 1253828"/>
              <a:gd name="connsiteX1" fmla="*/ 125383 w 2915613"/>
              <a:gd name="connsiteY1" fmla="*/ 0 h 1253828"/>
              <a:gd name="connsiteX2" fmla="*/ 2790230 w 2915613"/>
              <a:gd name="connsiteY2" fmla="*/ 0 h 1253828"/>
              <a:gd name="connsiteX3" fmla="*/ 2915613 w 2915613"/>
              <a:gd name="connsiteY3" fmla="*/ 125383 h 1253828"/>
              <a:gd name="connsiteX4" fmla="*/ 2915613 w 2915613"/>
              <a:gd name="connsiteY4" fmla="*/ 1128445 h 1253828"/>
              <a:gd name="connsiteX5" fmla="*/ 2790230 w 2915613"/>
              <a:gd name="connsiteY5" fmla="*/ 1253828 h 1253828"/>
              <a:gd name="connsiteX6" fmla="*/ 125383 w 2915613"/>
              <a:gd name="connsiteY6" fmla="*/ 1253828 h 1253828"/>
              <a:gd name="connsiteX7" fmla="*/ 0 w 2915613"/>
              <a:gd name="connsiteY7" fmla="*/ 1128445 h 1253828"/>
              <a:gd name="connsiteX8" fmla="*/ 0 w 2915613"/>
              <a:gd name="connsiteY8" fmla="*/ 125383 h 12538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5613" h="1253828">
                <a:moveTo>
                  <a:pt x="0" y="125383"/>
                </a:moveTo>
                <a:cubicBezTo>
                  <a:pt x="0" y="56136"/>
                  <a:pt x="56136" y="0"/>
                  <a:pt x="125383" y="0"/>
                </a:cubicBezTo>
                <a:lnTo>
                  <a:pt x="2790230" y="0"/>
                </a:lnTo>
                <a:cubicBezTo>
                  <a:pt x="2859477" y="0"/>
                  <a:pt x="2915613" y="56136"/>
                  <a:pt x="2915613" y="125383"/>
                </a:cubicBezTo>
                <a:lnTo>
                  <a:pt x="2915613" y="1128445"/>
                </a:lnTo>
                <a:cubicBezTo>
                  <a:pt x="2915613" y="1197692"/>
                  <a:pt x="2859477" y="1253828"/>
                  <a:pt x="2790230" y="1253828"/>
                </a:cubicBezTo>
                <a:lnTo>
                  <a:pt x="125383" y="1253828"/>
                </a:lnTo>
                <a:cubicBezTo>
                  <a:pt x="56136" y="1253828"/>
                  <a:pt x="0" y="1197692"/>
                  <a:pt x="0" y="1128445"/>
                </a:cubicBezTo>
                <a:lnTo>
                  <a:pt x="0" y="125383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  <a:alpha val="76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9183" tIns="89183" rIns="89183" bIns="89183" numCol="1" spcCol="1270" anchor="ctr" anchorCtr="0">
            <a:noAutofit/>
          </a:bodyPr>
          <a:lstStyle/>
          <a:p>
            <a:pPr algn="ctr"/>
            <a:r>
              <a:rPr lang="ru-RU" sz="2000" b="1" dirty="0">
                <a:solidFill>
                  <a:srgbClr val="002060"/>
                </a:solidFill>
                <a:latin typeface="Arial Narrow" panose="020B0606020202030204" pitchFamily="34" charset="0"/>
              </a:rPr>
              <a:t>СРЕДНЯЯ ДОЛЯ</a:t>
            </a:r>
          </a:p>
          <a:p>
            <a:pPr algn="ctr"/>
            <a:r>
              <a:rPr lang="ru-RU" sz="1100" b="1" dirty="0">
                <a:solidFill>
                  <a:srgbClr val="002060"/>
                </a:solidFill>
                <a:latin typeface="Arial Narrow" panose="020B0606020202030204" pitchFamily="34" charset="0"/>
              </a:rPr>
              <a:t>закупок («всеми способами</a:t>
            </a:r>
            <a:r>
              <a:rPr lang="ru-RU" sz="11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», </a:t>
            </a:r>
            <a:r>
              <a:rPr lang="ru-RU" sz="1100" b="1" dirty="0">
                <a:solidFill>
                  <a:srgbClr val="002060"/>
                </a:solidFill>
                <a:latin typeface="Arial Narrow" panose="020B0606020202030204" pitchFamily="34" charset="0"/>
              </a:rPr>
              <a:t>квота </a:t>
            </a:r>
            <a:r>
              <a:rPr lang="ru-RU" sz="1100" b="1" dirty="0">
                <a:solidFill>
                  <a:srgbClr val="FF0000"/>
                </a:solidFill>
                <a:latin typeface="Arial Narrow" panose="020B0606020202030204" pitchFamily="34" charset="0"/>
              </a:rPr>
              <a:t>18 %</a:t>
            </a:r>
            <a:r>
              <a:rPr lang="ru-RU" sz="1100" b="1" dirty="0">
                <a:solidFill>
                  <a:srgbClr val="002060"/>
                </a:solidFill>
                <a:latin typeface="Arial Narrow" panose="020B0606020202030204" pitchFamily="34" charset="0"/>
              </a:rPr>
              <a:t>)</a:t>
            </a:r>
          </a:p>
          <a:p>
            <a:pPr algn="ctr"/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6,65%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Пятиугольник 29"/>
          <p:cNvSpPr/>
          <p:nvPr/>
        </p:nvSpPr>
        <p:spPr>
          <a:xfrm>
            <a:off x="271366" y="6245879"/>
            <a:ext cx="5088368" cy="1121289"/>
          </a:xfrm>
          <a:prstGeom prst="homePlate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rgbClr val="A2C9F4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 defTabSz="729247">
              <a:lnSpc>
                <a:spcPct val="90000"/>
              </a:lnSpc>
              <a:spcBef>
                <a:spcPct val="0"/>
              </a:spcBef>
            </a:pPr>
            <a:r>
              <a:rPr lang="ru-RU" sz="2400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 </a:t>
            </a:r>
            <a:r>
              <a:rPr lang="ru-RU" sz="2400" b="1" dirty="0">
                <a:solidFill>
                  <a:srgbClr val="FF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2017 году</a:t>
            </a:r>
          </a:p>
          <a:p>
            <a:pPr algn="ctr" defTabSz="729247">
              <a:lnSpc>
                <a:spcPct val="90000"/>
              </a:lnSpc>
              <a:spcBef>
                <a:spcPct val="0"/>
              </a:spcBef>
            </a:pPr>
            <a:r>
              <a:rPr lang="ru-RU" sz="2000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 отношении </a:t>
            </a:r>
            <a:r>
              <a:rPr 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2 </a:t>
            </a:r>
            <a:r>
              <a:rPr lang="ru-RU" sz="2000" b="1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конкретных </a:t>
            </a:r>
            <a:r>
              <a:rPr 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заказчиков </a:t>
            </a:r>
          </a:p>
          <a:p>
            <a:pPr algn="ctr" defTabSz="729247">
              <a:lnSpc>
                <a:spcPct val="90000"/>
              </a:lnSpc>
              <a:spcBef>
                <a:spcPct val="0"/>
              </a:spcBef>
            </a:pPr>
            <a:r>
              <a:rPr lang="ru-RU" sz="2000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егионального уровня</a:t>
            </a:r>
            <a:endParaRPr lang="ru-RU" sz="2000" dirty="0">
              <a:solidFill>
                <a:srgbClr val="00206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5545569" y="6284118"/>
            <a:ext cx="3805162" cy="1175567"/>
          </a:xfrm>
          <a:prstGeom prst="roundRect">
            <a:avLst>
              <a:gd name="adj" fmla="val 10000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9183" tIns="89183" rIns="89183" bIns="89183" numCol="1" spcCol="1270" anchor="ctr" anchorCtr="0">
            <a:noAutofit/>
          </a:bodyPr>
          <a:lstStyle/>
          <a:p>
            <a:pPr algn="ctr"/>
            <a:r>
              <a:rPr lang="ru-RU" sz="2000" b="1" dirty="0">
                <a:solidFill>
                  <a:srgbClr val="002060"/>
                </a:solidFill>
                <a:latin typeface="Arial Narrow" panose="020B0606020202030204" pitchFamily="34" charset="0"/>
              </a:rPr>
              <a:t>ОБЪЕМ ЗАКЛЮЧЕННЫХ ДОГОВОРОВ</a:t>
            </a:r>
          </a:p>
          <a:p>
            <a:pPr algn="ctr"/>
            <a:endParaRPr lang="ru-RU" sz="6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,2 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 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лей </a:t>
            </a:r>
          </a:p>
        </p:txBody>
      </p:sp>
      <p:sp>
        <p:nvSpPr>
          <p:cNvPr id="56" name="Овал 55"/>
          <p:cNvSpPr/>
          <p:nvPr/>
        </p:nvSpPr>
        <p:spPr>
          <a:xfrm>
            <a:off x="11811897" y="6711049"/>
            <a:ext cx="3467438" cy="1900114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000" b="1" i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Лидер</a:t>
            </a:r>
            <a:r>
              <a:rPr lang="ru-RU" sz="2000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-</a:t>
            </a:r>
            <a:br>
              <a:rPr lang="ru-RU" sz="2000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</a:b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b="1" i="1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О </a:t>
            </a:r>
            <a:r>
              <a:rPr lang="ru-RU" b="1" i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«Центр «Омега»</a:t>
            </a:r>
            <a:r>
              <a:rPr lang="ru-RU" i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/>
            </a:r>
            <a:br>
              <a:rPr lang="ru-RU" i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</a:b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(</a:t>
            </a: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658 </a:t>
            </a: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лн рублей, </a:t>
            </a:r>
          </a:p>
          <a:p>
            <a:pPr algn="ctr"/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74% </a:t>
            </a:r>
            <a:r>
              <a:rPr lang="ru-RU" sz="1600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т общего объема закупок региональных заказчиков Краснодарского края</a:t>
            </a:r>
            <a:r>
              <a:rPr lang="ru-RU" sz="1600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) </a:t>
            </a:r>
            <a:endParaRPr lang="ru-RU" sz="1600" dirty="0">
              <a:solidFill>
                <a:srgbClr val="00206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856326" y="7736265"/>
            <a:ext cx="11320696" cy="7325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56322">
              <a:lnSpc>
                <a:spcPct val="80000"/>
              </a:lnSpc>
              <a:spcBef>
                <a:spcPct val="0"/>
              </a:spcBef>
            </a:pPr>
            <a:r>
              <a:rPr lang="ru-RU" sz="2800" b="1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Краснодарский край </a:t>
            </a:r>
            <a:r>
              <a:rPr lang="ru-RU" sz="28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занимает 1 место </a:t>
            </a:r>
          </a:p>
          <a:p>
            <a:pPr algn="ctr" defTabSz="656322">
              <a:lnSpc>
                <a:spcPct val="80000"/>
              </a:lnSpc>
              <a:spcBef>
                <a:spcPct val="0"/>
              </a:spcBef>
            </a:pPr>
            <a:r>
              <a:rPr lang="ru-RU" sz="24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среди субъектов РФ ЮФО </a:t>
            </a:r>
            <a:r>
              <a:rPr lang="ru-RU" sz="2400" b="1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по объему закупок у субъектов МСП в 2017 году</a:t>
            </a:r>
            <a:endParaRPr lang="ru-RU" sz="2400" dirty="0">
              <a:solidFill>
                <a:schemeClr val="accent5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541" y="4706215"/>
            <a:ext cx="538010" cy="765616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366" y="7744333"/>
            <a:ext cx="538010" cy="765616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290930" y="1328085"/>
            <a:ext cx="13326416" cy="878615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pPr>
              <a:defRPr/>
            </a:pPr>
            <a:r>
              <a:rPr 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бъем </a:t>
            </a:r>
            <a:r>
              <a:rPr lang="ru-RU" sz="2000" b="1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ланируемых </a:t>
            </a:r>
            <a:r>
              <a:rPr lang="ru-RU" sz="2000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федеральными </a:t>
            </a:r>
            <a:r>
              <a:rPr lang="ru-RU" sz="2000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заказчиками «прямых» закупок </a:t>
            </a:r>
            <a:r>
              <a:rPr lang="ru-RU" sz="2000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(</a:t>
            </a:r>
            <a:r>
              <a:rPr lang="ru-RU" sz="2000" i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егион поставки – Краснодарский край</a:t>
            </a:r>
            <a:r>
              <a:rPr lang="ru-RU" sz="2000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)  </a:t>
            </a:r>
            <a:r>
              <a:rPr lang="ru-RU" sz="2000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- </a:t>
            </a:r>
            <a:r>
              <a:rPr lang="ru-RU" sz="2000" b="1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более</a:t>
            </a:r>
            <a:r>
              <a:rPr lang="ru-RU" sz="2400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12,9 </a:t>
            </a:r>
            <a:r>
              <a:rPr lang="ru-RU" sz="2400" b="1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лрд </a:t>
            </a:r>
            <a:r>
              <a:rPr lang="ru-RU" sz="24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ублей</a:t>
            </a:r>
            <a:endParaRPr lang="ru-RU" sz="2400" dirty="0">
              <a:solidFill>
                <a:srgbClr val="00206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бъем заключенных договоров </a:t>
            </a:r>
            <a:r>
              <a:rPr lang="ru-RU" sz="2000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федеральных заказчиков (</a:t>
            </a:r>
            <a:r>
              <a:rPr lang="ru-RU" sz="2000" i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оставщик зарегистрирован в Краснодарском крае</a:t>
            </a:r>
            <a:r>
              <a:rPr lang="ru-RU" sz="2000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) – </a:t>
            </a:r>
            <a:r>
              <a:rPr lang="ru-RU" sz="2000" b="1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более</a:t>
            </a:r>
            <a:r>
              <a:rPr lang="ru-RU" sz="2000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7,1 </a:t>
            </a:r>
            <a:r>
              <a:rPr lang="ru-RU" sz="2400" b="1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лрд рублей</a:t>
            </a:r>
          </a:p>
        </p:txBody>
      </p:sp>
    </p:spTree>
    <p:extLst>
      <p:ext uri="{BB962C8B-B14F-4D97-AF65-F5344CB8AC3E}">
        <p14:creationId xmlns:p14="http://schemas.microsoft.com/office/powerpoint/2010/main" val="7472703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Скругленный прямоугольник 49"/>
          <p:cNvSpPr/>
          <p:nvPr/>
        </p:nvSpPr>
        <p:spPr>
          <a:xfrm>
            <a:off x="2399163" y="4834116"/>
            <a:ext cx="3410112" cy="1214354"/>
          </a:xfrm>
          <a:prstGeom prst="roundRect">
            <a:avLst>
              <a:gd name="adj" fmla="val 10000"/>
            </a:avLst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A2C9F4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 defTabSz="729247">
              <a:lnSpc>
                <a:spcPct val="90000"/>
              </a:lnSpc>
              <a:spcBef>
                <a:spcPct val="0"/>
              </a:spcBef>
            </a:pPr>
            <a:endParaRPr lang="ru-RU" sz="2625" b="1" dirty="0">
              <a:solidFill>
                <a:srgbClr val="00B0F0"/>
              </a:solidFill>
            </a:endParaRPr>
          </a:p>
        </p:txBody>
      </p:sp>
      <p:sp>
        <p:nvSpPr>
          <p:cNvPr id="49" name="Скругленный прямоугольник 48"/>
          <p:cNvSpPr/>
          <p:nvPr/>
        </p:nvSpPr>
        <p:spPr>
          <a:xfrm>
            <a:off x="1830383" y="3862118"/>
            <a:ext cx="3271569" cy="1228918"/>
          </a:xfrm>
          <a:prstGeom prst="roundRect">
            <a:avLst>
              <a:gd name="adj" fmla="val 10000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rgbClr val="A2C9F4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 defTabSz="729247">
              <a:lnSpc>
                <a:spcPct val="90000"/>
              </a:lnSpc>
              <a:spcBef>
                <a:spcPct val="0"/>
              </a:spcBef>
            </a:pPr>
            <a:endParaRPr lang="ru-RU" sz="984" b="1" dirty="0">
              <a:solidFill>
                <a:srgbClr val="00B0F0"/>
              </a:solidFill>
            </a:endParaRPr>
          </a:p>
          <a:p>
            <a:endParaRPr lang="ru-RU" sz="1477" dirty="0"/>
          </a:p>
        </p:txBody>
      </p:sp>
      <p:sp>
        <p:nvSpPr>
          <p:cNvPr id="46" name="Прямоугольник 45"/>
          <p:cNvSpPr/>
          <p:nvPr/>
        </p:nvSpPr>
        <p:spPr>
          <a:xfrm>
            <a:off x="2174178" y="4342463"/>
            <a:ext cx="2629545" cy="49165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641" dirty="0">
              <a:solidFill>
                <a:srgbClr val="171C23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641" dirty="0">
                <a:solidFill>
                  <a:srgbClr val="171C23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редний показатель для закупок </a:t>
            </a:r>
          </a:p>
          <a:p>
            <a:pPr algn="ctr"/>
            <a:r>
              <a:rPr lang="ru-RU" sz="1641" dirty="0">
                <a:solidFill>
                  <a:srgbClr val="171C23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 223-ФЗ</a:t>
            </a:r>
          </a:p>
          <a:p>
            <a:pPr algn="ctr"/>
            <a:r>
              <a:rPr lang="ru-RU" sz="2297" b="1" dirty="0">
                <a:solidFill>
                  <a:srgbClr val="0070C0"/>
                </a:solidFill>
                <a:latin typeface="Georgia" panose="02040502050405020303" pitchFamily="18" charset="0"/>
              </a:rPr>
              <a:t>1,69 </a:t>
            </a:r>
            <a:r>
              <a:rPr lang="ru-RU" sz="1969" b="1" dirty="0">
                <a:solidFill>
                  <a:srgbClr val="0070C0"/>
                </a:solidFill>
                <a:latin typeface="Georgia" panose="02040502050405020303" pitchFamily="18" charset="0"/>
              </a:rPr>
              <a:t>участников</a:t>
            </a:r>
          </a:p>
          <a:p>
            <a:pPr algn="ctr"/>
            <a:endParaRPr lang="ru-RU" sz="738" b="1" dirty="0">
              <a:solidFill>
                <a:srgbClr val="760000"/>
              </a:solidFill>
              <a:latin typeface="Georgia" panose="02040502050405020303" pitchFamily="18" charset="0"/>
            </a:endParaRPr>
          </a:p>
          <a:p>
            <a:pPr lvl="0"/>
            <a:r>
              <a:rPr lang="ru-RU" sz="2625" b="1" dirty="0">
                <a:solidFill>
                  <a:srgbClr val="171C23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             </a:t>
            </a:r>
            <a:endParaRPr lang="ru-RU" sz="1969" dirty="0">
              <a:solidFill>
                <a:srgbClr val="171C23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3480379" y="7710202"/>
            <a:ext cx="1181194" cy="377361"/>
          </a:xfrm>
        </p:spPr>
        <p:txBody>
          <a:bodyPr/>
          <a:lstStyle/>
          <a:p>
            <a:pPr>
              <a:defRPr/>
            </a:pPr>
            <a:r>
              <a:rPr lang="ru-RU" sz="1148" dirty="0" smtClean="0">
                <a:solidFill>
                  <a:prstClr val="black">
                    <a:tint val="75000"/>
                  </a:prstClr>
                </a:solidFill>
                <a:latin typeface="Arial Narrow" panose="020B0606020202030204" pitchFamily="34" charset="0"/>
              </a:rPr>
              <a:t>5</a:t>
            </a:r>
            <a:endParaRPr lang="ru-RU" sz="1148" dirty="0">
              <a:solidFill>
                <a:prstClr val="black">
                  <a:tint val="75000"/>
                </a:prstClr>
              </a:solidFill>
              <a:latin typeface="Arial Narrow" panose="020B060602020203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611724" y="198849"/>
            <a:ext cx="8100761" cy="894769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>
            <a:defPPr>
              <a:defRPr lang="en-US"/>
            </a:defPPr>
            <a:lvl1pPr lvl="0">
              <a:defRPr sz="2625" b="1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ru-RU" dirty="0"/>
              <a:t>ОЦЕНКА СТРУКТУРЫ И КАЧЕСТВА ЗАКУПОК У СУБЪЕКТОВ МСП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713209" y="3958936"/>
            <a:ext cx="9904377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1791045" y="7182852"/>
            <a:ext cx="10584502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just">
              <a:defRPr/>
            </a:pPr>
            <a:r>
              <a:rPr lang="ru-R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очник: результаты оценки и мониторинга соответствия, данные реестра договоров, заключенных по результатам закупок, сведения, размещенные в ЕИС, сведения, полученные от крупнейших заказчиков 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819" y="289736"/>
            <a:ext cx="1774766" cy="731354"/>
          </a:xfrm>
          <a:prstGeom prst="rect">
            <a:avLst/>
          </a:prstGeom>
        </p:spPr>
      </p:pic>
      <p:sp>
        <p:nvSpPr>
          <p:cNvPr id="24" name="Скругленный прямоугольник 6"/>
          <p:cNvSpPr/>
          <p:nvPr/>
        </p:nvSpPr>
        <p:spPr>
          <a:xfrm>
            <a:off x="5062109" y="5711096"/>
            <a:ext cx="677210" cy="23822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9380" tIns="29690" rIns="59380" bIns="29690" numCol="1" spcCol="1270" anchor="ctr" anchorCtr="0">
            <a:noAutofit/>
          </a:bodyPr>
          <a:lstStyle/>
          <a:p>
            <a:pPr algn="ctr" defTabSz="69278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82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5104860" y="1534643"/>
            <a:ext cx="6921235" cy="3953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1969" b="1" dirty="0">
              <a:solidFill>
                <a:srgbClr val="00B0F0"/>
              </a:solidFill>
              <a:latin typeface="Arial Black" panose="020B0A04020102020204" pitchFamily="34" charset="0"/>
            </a:endParaRPr>
          </a:p>
        </p:txBody>
      </p:sp>
      <p:sp>
        <p:nvSpPr>
          <p:cNvPr id="23" name="Скругленный прямоугольник 4"/>
          <p:cNvSpPr txBox="1"/>
          <p:nvPr/>
        </p:nvSpPr>
        <p:spPr>
          <a:xfrm>
            <a:off x="1539350" y="2004304"/>
            <a:ext cx="12318458" cy="31142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6255" tIns="56255" rIns="56255" bIns="56255" numCol="1" spcCol="1270" anchor="ctr" anchorCtr="0">
            <a:noAutofit/>
          </a:bodyPr>
          <a:lstStyle/>
          <a:p>
            <a:pPr algn="ctr" defTabSz="656322">
              <a:lnSpc>
                <a:spcPct val="80000"/>
              </a:lnSpc>
              <a:spcBef>
                <a:spcPct val="0"/>
              </a:spcBef>
            </a:pPr>
            <a:r>
              <a:rPr lang="ru-RU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Результаты</a:t>
            </a:r>
          </a:p>
        </p:txBody>
      </p:sp>
      <p:graphicFrame>
        <p:nvGraphicFramePr>
          <p:cNvPr id="22" name="Схема 21"/>
          <p:cNvGraphicFramePr/>
          <p:nvPr>
            <p:extLst>
              <p:ext uri="{D42A27DB-BD31-4B8C-83A1-F6EECF244321}">
                <p14:modId xmlns:p14="http://schemas.microsoft.com/office/powerpoint/2010/main" val="783028640"/>
              </p:ext>
            </p:extLst>
          </p:nvPr>
        </p:nvGraphicFramePr>
        <p:xfrm>
          <a:off x="1539350" y="6913218"/>
          <a:ext cx="12461763" cy="7969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8" name="Прямоугольник 17"/>
          <p:cNvSpPr/>
          <p:nvPr/>
        </p:nvSpPr>
        <p:spPr>
          <a:xfrm>
            <a:off x="2779573" y="1068044"/>
            <a:ext cx="9838013" cy="8914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4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ждународной информационной группой «Интерфакс» с использованием сведений ИС «СПАРК» и «СПАРК-Маркетинг» </a:t>
            </a:r>
            <a:r>
              <a:rPr lang="ru-RU" sz="1641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а предварительная оценка структуры и качества объема закупок у субъектов МСП 225 крупнейших заказчиков</a:t>
            </a:r>
            <a:endParaRPr lang="ru-RU" sz="1477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1539350" y="2762514"/>
            <a:ext cx="4542985" cy="7665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969" dirty="0">
                <a:solidFill>
                  <a:srgbClr val="171C23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ровень конкуренции в 2016 году</a:t>
            </a:r>
          </a:p>
          <a:p>
            <a:pPr algn="ctr"/>
            <a:r>
              <a:rPr lang="ru-RU" sz="1477" b="1" dirty="0">
                <a:solidFill>
                  <a:srgbClr val="FF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ЫШЕ СРЕДНЕГО</a:t>
            </a:r>
          </a:p>
          <a:p>
            <a:pPr algn="ctr"/>
            <a:endParaRPr lang="ru-RU" sz="1477" b="1" dirty="0">
              <a:solidFill>
                <a:srgbClr val="1BA91B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984" i="1" dirty="0">
                <a:solidFill>
                  <a:srgbClr val="171C23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среднее количество заявок на 1 закупочную процедуру)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5948461" y="2710786"/>
            <a:ext cx="4555380" cy="5960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969" dirty="0">
                <a:solidFill>
                  <a:srgbClr val="171C23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купки у единственного поставщика</a:t>
            </a:r>
            <a:br>
              <a:rPr lang="ru-RU" sz="1969" dirty="0">
                <a:solidFill>
                  <a:srgbClr val="171C23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969" dirty="0">
                <a:solidFill>
                  <a:srgbClr val="FF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77" b="1" dirty="0">
                <a:solidFill>
                  <a:srgbClr val="FF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ИЖЕ СРЕДНЕГО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6062682" y="5928363"/>
            <a:ext cx="4196618" cy="426019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969" b="1" dirty="0">
              <a:solidFill>
                <a:srgbClr val="0070C0"/>
              </a:solidFill>
              <a:latin typeface="Georgia" panose="02040502050405020303" pitchFamily="18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 flipH="1">
            <a:off x="5869958" y="3293794"/>
            <a:ext cx="6410" cy="335164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 flipH="1">
            <a:off x="10488904" y="3285172"/>
            <a:ext cx="14937" cy="3351646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10627365" y="2651591"/>
            <a:ext cx="3496363" cy="7235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969" dirty="0" err="1">
                <a:solidFill>
                  <a:srgbClr val="171C23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Аффилированность</a:t>
            </a:r>
            <a:endParaRPr lang="ru-RU" sz="1969" dirty="0">
              <a:solidFill>
                <a:srgbClr val="171C23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algn="ctr"/>
            <a:endParaRPr lang="ru-RU" sz="656" b="1" dirty="0">
              <a:solidFill>
                <a:srgbClr val="FF0000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lvl="0" algn="ctr"/>
            <a:r>
              <a:rPr lang="ru-RU" sz="1477" b="1" dirty="0">
                <a:solidFill>
                  <a:srgbClr val="FF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ИЗКАЯ ДОЛЯ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2512930" y="5382149"/>
            <a:ext cx="3170714" cy="42601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41" dirty="0">
                <a:solidFill>
                  <a:srgbClr val="171C23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купки у субъектов МСП </a:t>
            </a:r>
          </a:p>
          <a:p>
            <a:pPr algn="ctr"/>
            <a:endParaRPr lang="ru-RU" sz="738" dirty="0">
              <a:solidFill>
                <a:srgbClr val="171C23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297" b="1" dirty="0">
                <a:solidFill>
                  <a:srgbClr val="0070C0"/>
                </a:solidFill>
                <a:latin typeface="Georgia" panose="02040502050405020303" pitchFamily="18" charset="0"/>
              </a:rPr>
              <a:t>2,9 </a:t>
            </a:r>
            <a:r>
              <a:rPr lang="ru-RU" sz="1969" b="1" dirty="0">
                <a:solidFill>
                  <a:srgbClr val="0070C0"/>
                </a:solidFill>
                <a:latin typeface="Georgia" panose="02040502050405020303" pitchFamily="18" charset="0"/>
              </a:rPr>
              <a:t>участников</a:t>
            </a:r>
          </a:p>
        </p:txBody>
      </p:sp>
      <p:cxnSp>
        <p:nvCxnSpPr>
          <p:cNvPr id="48" name="Прямая соединительная линия 47"/>
          <p:cNvCxnSpPr/>
          <p:nvPr/>
        </p:nvCxnSpPr>
        <p:spPr>
          <a:xfrm>
            <a:off x="3557930" y="890397"/>
            <a:ext cx="9776962" cy="0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11052633" y="4172320"/>
            <a:ext cx="2555442" cy="5469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endParaRPr lang="ru-RU" sz="1477" b="1" dirty="0"/>
          </a:p>
          <a:p>
            <a:pPr lvl="0" algn="ctr"/>
            <a:endParaRPr lang="ru-RU" sz="1477" dirty="0"/>
          </a:p>
        </p:txBody>
      </p:sp>
      <p:sp>
        <p:nvSpPr>
          <p:cNvPr id="52" name="Скругленный прямоугольник 51"/>
          <p:cNvSpPr/>
          <p:nvPr/>
        </p:nvSpPr>
        <p:spPr>
          <a:xfrm>
            <a:off x="6770005" y="4867081"/>
            <a:ext cx="3604097" cy="1248403"/>
          </a:xfrm>
          <a:prstGeom prst="roundRect">
            <a:avLst>
              <a:gd name="adj" fmla="val 10000"/>
            </a:avLst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A2C9F4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endParaRPr lang="ru-RU" sz="1641" dirty="0">
              <a:solidFill>
                <a:srgbClr val="171C23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641" dirty="0">
                <a:solidFill>
                  <a:srgbClr val="171C23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купки у субъектов МСП </a:t>
            </a:r>
          </a:p>
          <a:p>
            <a:pPr algn="ctr"/>
            <a:endParaRPr lang="ru-RU" sz="738" b="1" dirty="0">
              <a:solidFill>
                <a:srgbClr val="0070C0"/>
              </a:solidFill>
              <a:latin typeface="Georgia" panose="02040502050405020303" pitchFamily="18" charset="0"/>
            </a:endParaRPr>
          </a:p>
          <a:p>
            <a:pPr algn="ctr"/>
            <a:r>
              <a:rPr lang="ru-RU" sz="2297" b="1" dirty="0" smtClean="0">
                <a:solidFill>
                  <a:srgbClr val="0070C0"/>
                </a:solidFill>
                <a:latin typeface="Georgia" panose="02040502050405020303" pitchFamily="18" charset="0"/>
              </a:rPr>
              <a:t>24,6%</a:t>
            </a:r>
            <a:endParaRPr lang="ru-RU" sz="2297" b="1" dirty="0">
              <a:solidFill>
                <a:srgbClr val="0070C0"/>
              </a:solidFill>
              <a:latin typeface="Georgia" panose="02040502050405020303" pitchFamily="18" charset="0"/>
            </a:endParaRPr>
          </a:p>
          <a:p>
            <a:pPr algn="ctr" defTabSz="729247">
              <a:lnSpc>
                <a:spcPct val="90000"/>
              </a:lnSpc>
              <a:spcBef>
                <a:spcPct val="0"/>
              </a:spcBef>
            </a:pPr>
            <a:endParaRPr lang="ru-RU" sz="2625" b="1" dirty="0">
              <a:solidFill>
                <a:srgbClr val="00B0F0"/>
              </a:solidFill>
            </a:endParaRPr>
          </a:p>
        </p:txBody>
      </p:sp>
      <p:sp>
        <p:nvSpPr>
          <p:cNvPr id="51" name="Скругленный прямоугольник 50"/>
          <p:cNvSpPr/>
          <p:nvPr/>
        </p:nvSpPr>
        <p:spPr>
          <a:xfrm>
            <a:off x="6048474" y="3796833"/>
            <a:ext cx="3271569" cy="1297917"/>
          </a:xfrm>
          <a:prstGeom prst="roundRect">
            <a:avLst>
              <a:gd name="adj" fmla="val 10000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rgbClr val="A2C9F4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ru-RU" sz="1641" dirty="0">
                <a:solidFill>
                  <a:srgbClr val="171C23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редний показатель для закупок </a:t>
            </a:r>
          </a:p>
          <a:p>
            <a:pPr algn="ctr"/>
            <a:r>
              <a:rPr lang="ru-RU" sz="1641" dirty="0">
                <a:solidFill>
                  <a:srgbClr val="171C23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 223-ФЗ</a:t>
            </a:r>
          </a:p>
          <a:p>
            <a:pPr algn="ctr"/>
            <a:endParaRPr lang="ru-RU" sz="738" b="1" dirty="0">
              <a:solidFill>
                <a:srgbClr val="171C23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297" b="1" dirty="0">
                <a:solidFill>
                  <a:srgbClr val="0070C0"/>
                </a:solidFill>
                <a:latin typeface="Georgia" panose="02040502050405020303" pitchFamily="18" charset="0"/>
              </a:rPr>
              <a:t>63%</a:t>
            </a:r>
          </a:p>
          <a:p>
            <a:pPr algn="ctr"/>
            <a:endParaRPr lang="ru-RU" sz="984" b="1" dirty="0">
              <a:solidFill>
                <a:srgbClr val="171C23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/>
            <a:endParaRPr lang="ru-RU" sz="984" b="1" dirty="0">
              <a:solidFill>
                <a:srgbClr val="171C23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/>
            <a:endParaRPr lang="ru-RU" sz="984" dirty="0">
              <a:solidFill>
                <a:srgbClr val="171C23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3" name="Скругленный прямоугольник 52"/>
          <p:cNvSpPr/>
          <p:nvPr/>
        </p:nvSpPr>
        <p:spPr>
          <a:xfrm>
            <a:off x="11052633" y="3733530"/>
            <a:ext cx="2805175" cy="2402482"/>
          </a:xfrm>
          <a:prstGeom prst="roundRect">
            <a:avLst>
              <a:gd name="adj" fmla="val 10000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rgbClr val="A2C9F4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endParaRPr lang="ru-RU" sz="984" b="1" dirty="0">
              <a:solidFill>
                <a:srgbClr val="171C23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/>
            <a:endParaRPr lang="ru-RU" sz="984" b="1" dirty="0">
              <a:solidFill>
                <a:srgbClr val="171C23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641" dirty="0">
                <a:solidFill>
                  <a:srgbClr val="171C23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 общего количества поставщиков (внутригрупповые закупки)</a:t>
            </a:r>
          </a:p>
          <a:p>
            <a:pPr lvl="0" algn="ctr"/>
            <a:endParaRPr lang="ru-RU" sz="1312" b="1" dirty="0">
              <a:solidFill>
                <a:srgbClr val="0070C0"/>
              </a:solidFill>
              <a:latin typeface="Georgia" panose="02040502050405020303" pitchFamily="18" charset="0"/>
            </a:endParaRPr>
          </a:p>
          <a:p>
            <a:pPr lvl="0" algn="ctr"/>
            <a:r>
              <a:rPr lang="ru-RU" sz="2297" b="1" dirty="0">
                <a:solidFill>
                  <a:srgbClr val="0070C0"/>
                </a:solidFill>
                <a:latin typeface="Georgia" panose="02040502050405020303" pitchFamily="18" charset="0"/>
              </a:rPr>
              <a:t>0,9 % </a:t>
            </a:r>
          </a:p>
          <a:p>
            <a:pPr algn="ctr"/>
            <a:endParaRPr lang="ru-RU" sz="984" dirty="0">
              <a:solidFill>
                <a:srgbClr val="171C23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3733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3489315" y="8157798"/>
            <a:ext cx="1172257" cy="268318"/>
          </a:xfrm>
        </p:spPr>
        <p:txBody>
          <a:bodyPr/>
          <a:lstStyle/>
          <a:p>
            <a:r>
              <a:rPr lang="ru-RU" sz="1400" dirty="0" smtClean="0"/>
              <a:t>6</a:t>
            </a:r>
            <a:endParaRPr lang="ru-RU" sz="1400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4163827" y="7293205"/>
            <a:ext cx="10867675" cy="86459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4401" indent="-234401" algn="just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chemeClr val="accent5">
                    <a:lumMod val="50000"/>
                  </a:schemeClr>
                </a:solidFill>
              </a:rPr>
              <a:t>реализация 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</a:rPr>
              <a:t>программ</a:t>
            </a:r>
            <a:r>
              <a:rPr lang="ru-RU" b="1" dirty="0">
                <a:solidFill>
                  <a:schemeClr val="accent5">
                    <a:lumMod val="50000"/>
                  </a:schemeClr>
                </a:solidFill>
              </a:rPr>
              <a:t> льготного лизинга промышленного оборудования 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</a:rPr>
              <a:t>для субъектов </a:t>
            </a:r>
            <a:r>
              <a:rPr lang="ru-RU" dirty="0" smtClean="0">
                <a:solidFill>
                  <a:schemeClr val="accent5">
                    <a:lumMod val="50000"/>
                  </a:schemeClr>
                </a:solidFill>
              </a:rPr>
              <a:t>МСП</a:t>
            </a:r>
            <a:endParaRPr lang="ru-RU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080" y="164816"/>
            <a:ext cx="2115333" cy="962285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3771900" y="474076"/>
            <a:ext cx="10111186" cy="615124"/>
          </a:xfrm>
          <a:prstGeom prst="rect">
            <a:avLst/>
          </a:prstGeom>
          <a:noFill/>
        </p:spPr>
        <p:txBody>
          <a:bodyPr wrap="square" lIns="59060" tIns="29530" rIns="0" bIns="29530" rtlCol="0">
            <a:noAutofit/>
          </a:bodyPr>
          <a:lstStyle/>
          <a:p>
            <a:pPr>
              <a:defRPr/>
            </a:pPr>
            <a:r>
              <a:rPr lang="ru-RU" sz="2297" b="1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ЕРВООЧЕРЕДНЫЕ МЕРОПРИЯТИЯ </a:t>
            </a:r>
          </a:p>
          <a:p>
            <a:pPr>
              <a:defRPr/>
            </a:pPr>
            <a:r>
              <a:rPr lang="ru-RU" sz="2297" b="1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О УВЕЛИЧЕНИЮ ДОЛИ ЗАКУПОК У СУБЪЕКТОВ МСП</a:t>
            </a:r>
          </a:p>
          <a:p>
            <a:r>
              <a:rPr lang="ru-RU" sz="1969" b="1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endParaRPr lang="ru-RU" sz="2625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4152462" y="4872536"/>
            <a:ext cx="10867674" cy="79222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4401" indent="-234401" algn="just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accent5">
                    <a:lumMod val="50000"/>
                  </a:schemeClr>
                </a:solidFill>
              </a:rPr>
              <a:t>увеличение </a:t>
            </a:r>
            <a:r>
              <a:rPr lang="ru-RU" b="1" dirty="0">
                <a:solidFill>
                  <a:schemeClr val="accent5">
                    <a:lumMod val="50000"/>
                  </a:schemeClr>
                </a:solidFill>
              </a:rPr>
              <a:t>количества производственных номенклатурных позиций 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</a:rPr>
              <a:t>(в первую очередь, высокотехнологичных, инновационных), предлагаемых для закупки у субъектов МСП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4152461" y="6024228"/>
            <a:ext cx="10867675" cy="87377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4401" indent="-234401" algn="just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accent5">
                    <a:lumMod val="50000"/>
                  </a:schemeClr>
                </a:solidFill>
              </a:rPr>
              <a:t>использование </a:t>
            </a:r>
            <a:r>
              <a:rPr lang="ru-RU" b="1" dirty="0">
                <a:solidFill>
                  <a:schemeClr val="accent5">
                    <a:lumMod val="50000"/>
                  </a:schemeClr>
                </a:solidFill>
              </a:rPr>
              <a:t>функционалов Единого реестра субъектов МСП и Бизнес-навигатора 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</a:rPr>
              <a:t>Корпорации</a:t>
            </a:r>
          </a:p>
          <a:p>
            <a:pPr marL="234401" indent="-234401" algn="just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accent5">
                    <a:lumMod val="50000"/>
                  </a:schemeClr>
                </a:solidFill>
              </a:rPr>
              <a:t>проведение совместно с крупнейшими заказчиками </a:t>
            </a:r>
            <a:r>
              <a:rPr lang="ru-RU" b="1" dirty="0">
                <a:solidFill>
                  <a:schemeClr val="accent5">
                    <a:lumMod val="50000"/>
                  </a:schemeClr>
                </a:solidFill>
              </a:rPr>
              <a:t>обучающих семинаров</a:t>
            </a:r>
          </a:p>
          <a:p>
            <a:pPr marL="234401" indent="-234401" algn="just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accent5">
                    <a:lumMod val="50000"/>
                  </a:schemeClr>
                </a:solidFill>
              </a:rPr>
              <a:t>размещение актуальной информации на информационных ресурсах  </a:t>
            </a:r>
          </a:p>
        </p:txBody>
      </p:sp>
      <p:sp>
        <p:nvSpPr>
          <p:cNvPr id="19" name="Пятиугольник 18"/>
          <p:cNvSpPr/>
          <p:nvPr/>
        </p:nvSpPr>
        <p:spPr>
          <a:xfrm>
            <a:off x="380563" y="7288726"/>
            <a:ext cx="3606132" cy="820982"/>
          </a:xfrm>
          <a:prstGeom prst="homePlate">
            <a:avLst/>
          </a:prstGeom>
          <a:solidFill>
            <a:schemeClr val="bg1"/>
          </a:solidFill>
          <a:ln w="285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6255" tIns="28127" rIns="56255" bIns="28127" numCol="1" spcCol="1270" anchor="ctr" anchorCtr="0">
            <a:noAutofit/>
          </a:bodyPr>
          <a:lstStyle/>
          <a:p>
            <a:pPr algn="ctr" defTabSz="65632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 smtClean="0">
                <a:solidFill>
                  <a:schemeClr val="accent5">
                    <a:lumMod val="50000"/>
                  </a:schemeClr>
                </a:solidFill>
              </a:rPr>
              <a:t>Развитие поставщиков</a:t>
            </a:r>
            <a:endParaRPr lang="ru-RU" sz="20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2" name="Пятиугольник 21"/>
          <p:cNvSpPr/>
          <p:nvPr/>
        </p:nvSpPr>
        <p:spPr>
          <a:xfrm>
            <a:off x="380563" y="4739063"/>
            <a:ext cx="3688771" cy="969675"/>
          </a:xfrm>
          <a:prstGeom prst="homePlate">
            <a:avLst/>
          </a:prstGeom>
          <a:solidFill>
            <a:schemeClr val="bg1"/>
          </a:solidFill>
          <a:ln w="285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6255" tIns="28127" rIns="56255" bIns="28127" numCol="1" spcCol="1270" anchor="ctr" anchorCtr="0">
            <a:noAutofit/>
          </a:bodyPr>
          <a:lstStyle/>
          <a:p>
            <a:pPr algn="ctr" defTabSz="65632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641" b="1" dirty="0"/>
          </a:p>
          <a:p>
            <a:pPr algn="ctr" defTabSz="65632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</a:rPr>
              <a:t>Расширение номенклатуры закупок у субъектов МСП </a:t>
            </a:r>
          </a:p>
          <a:p>
            <a:pPr algn="ctr" defTabSz="65632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641" b="1" dirty="0"/>
          </a:p>
        </p:txBody>
      </p:sp>
      <p:sp>
        <p:nvSpPr>
          <p:cNvPr id="24" name="Пятиугольник 23"/>
          <p:cNvSpPr/>
          <p:nvPr/>
        </p:nvSpPr>
        <p:spPr>
          <a:xfrm>
            <a:off x="380563" y="5991070"/>
            <a:ext cx="3606132" cy="906929"/>
          </a:xfrm>
          <a:prstGeom prst="homePlate">
            <a:avLst/>
          </a:prstGeom>
          <a:solidFill>
            <a:schemeClr val="bg1"/>
          </a:solidFill>
          <a:ln w="285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6255" tIns="28127" rIns="56255" bIns="28127" numCol="1" spcCol="1270" anchor="ctr" anchorCtr="0">
            <a:noAutofit/>
          </a:bodyPr>
          <a:lstStyle/>
          <a:p>
            <a:pPr algn="ctr" defTabSz="65632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641" b="1" dirty="0"/>
          </a:p>
          <a:p>
            <a:pPr algn="ctr" defTabSz="656322">
              <a:lnSpc>
                <a:spcPct val="90000"/>
              </a:lnSpc>
              <a:spcBef>
                <a:spcPct val="0"/>
              </a:spcBef>
            </a:pP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</a:rPr>
              <a:t>Повышение информированности </a:t>
            </a:r>
          </a:p>
          <a:p>
            <a:pPr algn="ctr" defTabSz="656322">
              <a:lnSpc>
                <a:spcPct val="90000"/>
              </a:lnSpc>
              <a:spcBef>
                <a:spcPct val="0"/>
              </a:spcBef>
            </a:pP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</a:rPr>
              <a:t>о закупках</a:t>
            </a:r>
          </a:p>
          <a:p>
            <a:pPr algn="ctr" defTabSz="65632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641" b="1" dirty="0"/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 flipV="1">
            <a:off x="2015836" y="1263276"/>
            <a:ext cx="11867250" cy="13612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4186558" y="1449534"/>
            <a:ext cx="10867675" cy="103159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4401" indent="-234401" algn="just">
              <a:buFont typeface="Arial" panose="020B0604020202020204" pitchFamily="34" charset="0"/>
              <a:buChar char="•"/>
            </a:pPr>
            <a:endParaRPr lang="ru-RU" b="1" dirty="0" smtClean="0">
              <a:solidFill>
                <a:schemeClr val="accent5">
                  <a:lumMod val="50000"/>
                </a:schemeClr>
              </a:solidFill>
            </a:endParaRPr>
          </a:p>
          <a:p>
            <a:pPr marL="234401" indent="-234401" algn="just">
              <a:buFont typeface="Arial" panose="020B0604020202020204" pitchFamily="34" charset="0"/>
              <a:buChar char="•"/>
            </a:pPr>
            <a:r>
              <a:rPr lang="ru-RU" b="1" dirty="0" smtClean="0">
                <a:solidFill>
                  <a:schemeClr val="accent5">
                    <a:lumMod val="50000"/>
                  </a:schemeClr>
                </a:solidFill>
              </a:rPr>
              <a:t>выявление проблем</a:t>
            </a:r>
            <a:r>
              <a:rPr lang="ru-RU" dirty="0" smtClean="0">
                <a:solidFill>
                  <a:schemeClr val="accent5">
                    <a:lumMod val="50000"/>
                  </a:schemeClr>
                </a:solidFill>
              </a:rPr>
              <a:t>, возникающих у субъектов МСП при прохождении добровольной сертификации</a:t>
            </a:r>
          </a:p>
          <a:p>
            <a:pPr marL="234401" indent="-234401" algn="just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chemeClr val="accent5">
                    <a:lumMod val="50000"/>
                  </a:schemeClr>
                </a:solidFill>
              </a:rPr>
              <a:t>внесение изменений в законодательство РФ в</a:t>
            </a:r>
            <a:r>
              <a:rPr lang="ru-RU" b="1" dirty="0" smtClean="0">
                <a:solidFill>
                  <a:schemeClr val="accent5">
                    <a:lumMod val="50000"/>
                  </a:schemeClr>
                </a:solidFill>
              </a:rPr>
              <a:t> целях снижения </a:t>
            </a:r>
            <a:r>
              <a:rPr lang="ru-RU" b="1" dirty="0">
                <a:solidFill>
                  <a:schemeClr val="accent5">
                    <a:lumMod val="50000"/>
                  </a:schemeClr>
                </a:solidFill>
              </a:rPr>
              <a:t>затрат субъектов МСП 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</a:rPr>
              <a:t>на прохождение </a:t>
            </a:r>
            <a:r>
              <a:rPr lang="ru-RU" b="1" dirty="0">
                <a:solidFill>
                  <a:schemeClr val="accent5">
                    <a:lumMod val="50000"/>
                  </a:schemeClr>
                </a:solidFill>
              </a:rPr>
              <a:t>добровольной сертификации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</a:rPr>
              <a:t> </a:t>
            </a:r>
          </a:p>
          <a:p>
            <a:pPr marL="234401" indent="-234401" algn="just">
              <a:buFont typeface="Arial" panose="020B0604020202020204" pitchFamily="34" charset="0"/>
              <a:buChar char="•"/>
            </a:pPr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5" name="Пятиугольник 14"/>
          <p:cNvSpPr/>
          <p:nvPr/>
        </p:nvSpPr>
        <p:spPr>
          <a:xfrm>
            <a:off x="414660" y="1502884"/>
            <a:ext cx="3606132" cy="956257"/>
          </a:xfrm>
          <a:prstGeom prst="homePlate">
            <a:avLst/>
          </a:prstGeom>
          <a:solidFill>
            <a:schemeClr val="bg1"/>
          </a:solidFill>
          <a:ln w="285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6255" tIns="28127" rIns="56255" bIns="28127" numCol="1" spcCol="1270" anchor="ctr" anchorCtr="0">
            <a:noAutofit/>
          </a:bodyPr>
          <a:lstStyle/>
          <a:p>
            <a:pPr algn="ctr"/>
            <a:endParaRPr lang="ru-RU" sz="1641" b="1" dirty="0"/>
          </a:p>
          <a:p>
            <a:pPr algn="ctr"/>
            <a:r>
              <a:rPr lang="ru-RU" sz="2000" b="1" dirty="0" smtClean="0">
                <a:solidFill>
                  <a:schemeClr val="accent5">
                    <a:lumMod val="50000"/>
                  </a:schemeClr>
                </a:solidFill>
              </a:rPr>
              <a:t>Снижение </a:t>
            </a: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</a:rPr>
              <a:t>затрат </a:t>
            </a:r>
            <a:r>
              <a:rPr lang="ru-RU" sz="2000" dirty="0" smtClean="0">
                <a:solidFill>
                  <a:schemeClr val="accent5">
                    <a:lumMod val="50000"/>
                  </a:schemeClr>
                </a:solidFill>
              </a:rPr>
              <a:t>на </a:t>
            </a:r>
            <a:r>
              <a:rPr lang="ru-RU" sz="2000" dirty="0">
                <a:solidFill>
                  <a:schemeClr val="accent5">
                    <a:lumMod val="50000"/>
                  </a:schemeClr>
                </a:solidFill>
              </a:rPr>
              <a:t>прохождение </a:t>
            </a:r>
            <a:r>
              <a:rPr lang="ru-RU" sz="2000" dirty="0" smtClean="0">
                <a:solidFill>
                  <a:schemeClr val="accent5">
                    <a:lumMod val="50000"/>
                  </a:schemeClr>
                </a:solidFill>
              </a:rPr>
              <a:t>д</a:t>
            </a:r>
            <a:r>
              <a:rPr lang="ru-RU" sz="2000" b="1" dirty="0" smtClean="0">
                <a:solidFill>
                  <a:schemeClr val="accent5">
                    <a:lumMod val="50000"/>
                  </a:schemeClr>
                </a:solidFill>
              </a:rPr>
              <a:t>обровольной </a:t>
            </a: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</a:rPr>
              <a:t>сертификации</a:t>
            </a:r>
            <a:r>
              <a:rPr lang="ru-RU" sz="2000" dirty="0">
                <a:solidFill>
                  <a:schemeClr val="accent5">
                    <a:lumMod val="50000"/>
                  </a:schemeClr>
                </a:solidFill>
              </a:rPr>
              <a:t> </a:t>
            </a:r>
          </a:p>
          <a:p>
            <a:pPr algn="ctr" defTabSz="65632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641" b="1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4209290" y="3760325"/>
            <a:ext cx="10867675" cy="75274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4401" indent="-234401" algn="just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chemeClr val="accent5">
                    <a:lumMod val="50000"/>
                  </a:schemeClr>
                </a:solidFill>
              </a:rPr>
              <a:t>актуализация перечней 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</a:rPr>
              <a:t>конкретных и отдельных заказчиков</a:t>
            </a:r>
          </a:p>
        </p:txBody>
      </p:sp>
      <p:sp>
        <p:nvSpPr>
          <p:cNvPr id="21" name="Пятиугольник 20"/>
          <p:cNvSpPr/>
          <p:nvPr/>
        </p:nvSpPr>
        <p:spPr>
          <a:xfrm>
            <a:off x="414660" y="3694151"/>
            <a:ext cx="3594767" cy="818916"/>
          </a:xfrm>
          <a:prstGeom prst="homePlate">
            <a:avLst/>
          </a:prstGeom>
          <a:solidFill>
            <a:schemeClr val="bg1"/>
          </a:solidFill>
          <a:ln w="285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6255" tIns="28127" rIns="56255" bIns="28127" numCol="1" spcCol="1270" anchor="ctr" anchorCtr="0">
            <a:noAutofit/>
          </a:bodyPr>
          <a:lstStyle/>
          <a:p>
            <a:pPr algn="ctr" defTabSz="65632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 smtClean="0">
                <a:solidFill>
                  <a:schemeClr val="accent5">
                    <a:lumMod val="50000"/>
                  </a:schemeClr>
                </a:solidFill>
              </a:rPr>
              <a:t>Расширение перечня крупнейших заказчиков</a:t>
            </a:r>
            <a:endParaRPr lang="ru-RU" sz="20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4186560" y="2641069"/>
            <a:ext cx="10867675" cy="77660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34401" indent="-234401" algn="just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chemeClr val="accent5">
                    <a:lumMod val="50000"/>
                  </a:schemeClr>
                </a:solidFill>
              </a:rPr>
              <a:t>внесение 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</a:rPr>
              <a:t>изменений в Гражданский кодекс Российской Федерации и Закон № 223-ФЗ </a:t>
            </a:r>
            <a:r>
              <a:rPr lang="ru-RU" dirty="0" smtClean="0">
                <a:solidFill>
                  <a:schemeClr val="accent5">
                    <a:lumMod val="50000"/>
                  </a:schemeClr>
                </a:solidFill>
              </a:rPr>
              <a:t>в целях установления </a:t>
            </a:r>
            <a:r>
              <a:rPr lang="ru-RU" b="1" dirty="0" smtClean="0">
                <a:solidFill>
                  <a:schemeClr val="accent5">
                    <a:lumMod val="50000"/>
                  </a:schemeClr>
                </a:solidFill>
              </a:rPr>
              <a:t>возможности использования </a:t>
            </a:r>
            <a:r>
              <a:rPr lang="ru-RU" b="1" dirty="0">
                <a:solidFill>
                  <a:schemeClr val="accent5">
                    <a:lumMod val="50000"/>
                  </a:schemeClr>
                </a:solidFill>
              </a:rPr>
              <a:t>факторинга в </a:t>
            </a:r>
            <a:r>
              <a:rPr lang="ru-RU" b="1" dirty="0" smtClean="0">
                <a:solidFill>
                  <a:schemeClr val="accent5">
                    <a:lumMod val="50000"/>
                  </a:schemeClr>
                </a:solidFill>
              </a:rPr>
              <a:t>закупках</a:t>
            </a:r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26" name="Пятиугольник 25"/>
          <p:cNvSpPr/>
          <p:nvPr/>
        </p:nvSpPr>
        <p:spPr>
          <a:xfrm>
            <a:off x="414660" y="2634078"/>
            <a:ext cx="3594767" cy="818916"/>
          </a:xfrm>
          <a:prstGeom prst="homePlate">
            <a:avLst/>
          </a:prstGeom>
          <a:solidFill>
            <a:schemeClr val="bg1"/>
          </a:solidFill>
          <a:ln w="285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6255" tIns="28127" rIns="56255" bIns="28127" numCol="1" spcCol="1270" anchor="ctr" anchorCtr="0">
            <a:noAutofit/>
          </a:bodyPr>
          <a:lstStyle/>
          <a:p>
            <a:pPr algn="ctr" defTabSz="656322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b="1" dirty="0" smtClean="0">
                <a:solidFill>
                  <a:schemeClr val="accent5">
                    <a:lumMod val="50000"/>
                  </a:schemeClr>
                </a:solidFill>
              </a:rPr>
              <a:t>Расширение практики использования факторинга</a:t>
            </a:r>
            <a:endParaRPr lang="ru-RU" sz="2000" b="1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44844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1205" y="937009"/>
            <a:ext cx="5325306" cy="6133554"/>
          </a:xfrm>
          <a:prstGeom prst="rect">
            <a:avLst/>
          </a:prstGeom>
        </p:spPr>
      </p:pic>
      <p:sp>
        <p:nvSpPr>
          <p:cNvPr id="50" name="TextBox 49"/>
          <p:cNvSpPr txBox="1"/>
          <p:nvPr/>
        </p:nvSpPr>
        <p:spPr>
          <a:xfrm>
            <a:off x="3158837" y="61171"/>
            <a:ext cx="10982886" cy="699029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>
            <a:defPPr>
              <a:defRPr lang="en-US"/>
            </a:defPPr>
            <a:lvl1pPr lvl="0">
              <a:defRPr sz="2625" b="1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ru-RU" dirty="0"/>
              <a:t>Бизнес навигация для МСП</a:t>
            </a:r>
          </a:p>
        </p:txBody>
      </p:sp>
      <p:sp>
        <p:nvSpPr>
          <p:cNvPr id="30" name="TextBox 5"/>
          <p:cNvSpPr txBox="1">
            <a:spLocks noChangeArrowheads="1"/>
          </p:cNvSpPr>
          <p:nvPr/>
        </p:nvSpPr>
        <p:spPr bwMode="auto">
          <a:xfrm>
            <a:off x="1869391" y="7103884"/>
            <a:ext cx="12019720" cy="1260087"/>
          </a:xfrm>
          <a:prstGeom prst="rect">
            <a:avLst/>
          </a:prstGeom>
          <a:solidFill>
            <a:schemeClr val="bg2"/>
          </a:solidFill>
          <a:ln w="3175"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144000" tIns="72000" rIns="144000" bIns="72000" anchor="ctr" anchorCtr="0">
            <a:noAutofit/>
          </a:bodyPr>
          <a:lstStyle/>
          <a:p>
            <a:pPr algn="just"/>
            <a:r>
              <a:rPr lang="ru-RU" dirty="0">
                <a:solidFill>
                  <a:schemeClr val="tx1"/>
                </a:solidFill>
                <a:latin typeface="Arial Narrow" panose="020B0606020202030204" pitchFamily="34" charset="0"/>
              </a:rPr>
              <a:t>Работы по</a:t>
            </a:r>
            <a:r>
              <a:rPr lang="ru-RU" b="1" dirty="0">
                <a:solidFill>
                  <a:schemeClr val="tx1"/>
                </a:solidFill>
                <a:latin typeface="Arial Narrow" panose="020B0606020202030204" pitchFamily="34" charset="0"/>
              </a:rPr>
              <a:t> развитию и наполнению Бизнес-навигатора МСП в отношении 169 </a:t>
            </a:r>
            <a:r>
              <a:rPr lang="ru-RU" dirty="0">
                <a:solidFill>
                  <a:schemeClr val="tx1"/>
                </a:solidFill>
                <a:latin typeface="Arial Narrow" panose="020B0606020202030204" pitchFamily="34" charset="0"/>
              </a:rPr>
              <a:t>городов с населением более 100 тыс. человек Корпорация МСП будет проводить </a:t>
            </a:r>
            <a:r>
              <a:rPr lang="ru-RU" b="1" dirty="0">
                <a:solidFill>
                  <a:schemeClr val="tx1"/>
                </a:solidFill>
                <a:latin typeface="Arial Narrow" panose="020B0606020202030204" pitchFamily="34" charset="0"/>
              </a:rPr>
              <a:t>своими силами и за счет собственных средств.  </a:t>
            </a:r>
            <a:r>
              <a:rPr lang="ru-RU" dirty="0">
                <a:solidFill>
                  <a:schemeClr val="tx1"/>
                </a:solidFill>
                <a:latin typeface="Arial Narrow" panose="020B0606020202030204" pitchFamily="34" charset="0"/>
              </a:rPr>
              <a:t>С 2017 года сбор информации </a:t>
            </a:r>
            <a:r>
              <a:rPr lang="ru-RU" b="1" dirty="0">
                <a:solidFill>
                  <a:schemeClr val="tx1"/>
                </a:solidFill>
                <a:latin typeface="Arial Narrow" panose="020B0606020202030204" pitchFamily="34" charset="0"/>
              </a:rPr>
              <a:t>для расширения географии (свыше 169 городов) может осуществляться органами государственной власти субъектов РФ и местного самоуправления самостоятельно </a:t>
            </a:r>
            <a:r>
              <a:rPr lang="ru-RU" dirty="0">
                <a:solidFill>
                  <a:schemeClr val="tx1"/>
                </a:solidFill>
                <a:latin typeface="Arial Narrow" panose="020B0606020202030204" pitchFamily="34" charset="0"/>
              </a:rPr>
              <a:t>согласно их приоритетам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0069335" y="1849449"/>
            <a:ext cx="3819776" cy="522112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/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Рассчитать примерный бизнес-план для одного из 90 видов бизнеса в 169 городах с населением более 100 тысяч </a:t>
            </a:r>
            <a:r>
              <a:rPr lang="ru-RU" sz="16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человек </a:t>
            </a:r>
            <a:endParaRPr lang="ru-RU" sz="16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Найти </a:t>
            </a:r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банк, где можно взять кредит под гарантии Корпорации </a:t>
            </a:r>
            <a:r>
              <a:rPr lang="ru-RU" sz="16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МСП</a:t>
            </a:r>
            <a:endParaRPr lang="ru-RU" sz="16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Подобрать в аренду помещение для </a:t>
            </a:r>
            <a:r>
              <a:rPr lang="ru-RU" sz="16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бизнеса </a:t>
            </a:r>
            <a:endParaRPr lang="ru-RU" sz="16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Узнать о доступности известных и надежных </a:t>
            </a:r>
            <a:r>
              <a:rPr lang="ru-RU" sz="16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франшиз</a:t>
            </a:r>
            <a:endParaRPr lang="ru-RU" sz="16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Узнать о мерах поддержки малого и среднего </a:t>
            </a:r>
            <a:r>
              <a:rPr lang="ru-RU" sz="16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бизнеса</a:t>
            </a:r>
            <a:endParaRPr lang="ru-RU" sz="16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Быть в курсе планов закупок и конкурсов крупных заказчиков.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Найти и проверить контрагента.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Разместить объявление о своем </a:t>
            </a:r>
            <a:r>
              <a:rPr lang="ru-RU" sz="16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бизнесе</a:t>
            </a:r>
            <a:endParaRPr lang="ru-RU" sz="16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Получить доступ к новостным, аналитическим и иным </a:t>
            </a:r>
            <a:r>
              <a:rPr lang="ru-RU" sz="16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материалам</a:t>
            </a:r>
            <a:endParaRPr lang="ru-RU" sz="16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3298115" y="8268936"/>
            <a:ext cx="1268490" cy="244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889000">
              <a:lnSpc>
                <a:spcPct val="80000"/>
              </a:lnSpc>
              <a:spcBef>
                <a:spcPct val="0"/>
              </a:spcBef>
            </a:pPr>
            <a:r>
              <a:rPr lang="ru-RU" sz="1200" dirty="0" smtClean="0">
                <a:latin typeface="Arial Narrow" panose="020B0606020202030204" pitchFamily="34" charset="0"/>
              </a:rPr>
              <a:t>7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1938767" y="2097358"/>
            <a:ext cx="2983050" cy="1293542"/>
            <a:chOff x="-946714" y="6622048"/>
            <a:chExt cx="1589861" cy="630884"/>
          </a:xfrm>
        </p:grpSpPr>
        <p:sp>
          <p:nvSpPr>
            <p:cNvPr id="15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algn="ctr" defTabSz="914400">
                <a:defRPr/>
              </a:pPr>
              <a:endParaRPr lang="ru-RU" b="1" kern="0" dirty="0">
                <a:solidFill>
                  <a:prstClr val="black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6" name="Pentagon 37"/>
            <p:cNvSpPr/>
            <p:nvPr/>
          </p:nvSpPr>
          <p:spPr>
            <a:xfrm>
              <a:off x="-946714" y="6622049"/>
              <a:ext cx="1522889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r>
                <a:rPr lang="ru-RU" b="1" dirty="0">
                  <a:latin typeface="Arial Narrow" panose="020B0606020202030204" pitchFamily="34" charset="0"/>
                </a:rPr>
                <a:t>Зайти на Портал </a:t>
              </a:r>
            </a:p>
            <a:p>
              <a:r>
                <a:rPr lang="ru-RU" b="1" dirty="0">
                  <a:latin typeface="Arial Narrow" panose="020B0606020202030204" pitchFamily="34" charset="0"/>
                </a:rPr>
                <a:t>Бизнес-навигатора МСП </a:t>
              </a:r>
            </a:p>
            <a:p>
              <a:r>
                <a:rPr lang="ru-RU" b="1" dirty="0">
                  <a:latin typeface="Arial Narrow" panose="020B0606020202030204" pitchFamily="34" charset="0"/>
                </a:rPr>
                <a:t>по адресу: </a:t>
              </a:r>
              <a:r>
                <a:rPr lang="ru-RU" b="1" u="sng" dirty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rPr>
                <a:t>https://smbn.ru</a:t>
              </a: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1938775" y="3459853"/>
            <a:ext cx="2983051" cy="2120899"/>
            <a:chOff x="-946714" y="6622048"/>
            <a:chExt cx="1589861" cy="630884"/>
          </a:xfrm>
        </p:grpSpPr>
        <p:sp>
          <p:nvSpPr>
            <p:cNvPr id="18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12449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algn="ctr" defTabSz="914400">
                <a:defRPr/>
              </a:pPr>
              <a:endParaRPr lang="ru-RU" b="1" kern="0" dirty="0">
                <a:solidFill>
                  <a:prstClr val="black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9" name="Pentagon 37"/>
            <p:cNvSpPr/>
            <p:nvPr/>
          </p:nvSpPr>
          <p:spPr>
            <a:xfrm>
              <a:off x="-946714" y="6622049"/>
              <a:ext cx="1521023" cy="630883"/>
            </a:xfrm>
            <a:prstGeom prst="homePlate">
              <a:avLst>
                <a:gd name="adj" fmla="val 12449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r>
                <a:rPr lang="ru-RU" b="1" dirty="0">
                  <a:latin typeface="Arial Narrow" panose="020B0606020202030204" pitchFamily="34" charset="0"/>
                </a:rPr>
                <a:t>Пройти авторизацию </a:t>
              </a:r>
            </a:p>
            <a:p>
              <a:r>
                <a:rPr lang="ru-RU" b="1" dirty="0">
                  <a:latin typeface="Arial Narrow" panose="020B0606020202030204" pitchFamily="34" charset="0"/>
                </a:rPr>
                <a:t>с использованием учетной записи портала </a:t>
              </a:r>
              <a:r>
                <a:rPr lang="ru-RU" b="1" dirty="0" err="1">
                  <a:latin typeface="Arial Narrow" panose="020B0606020202030204" pitchFamily="34" charset="0"/>
                </a:rPr>
                <a:t>госуслуг</a:t>
              </a:r>
              <a:r>
                <a:rPr lang="ru-RU" b="1" dirty="0">
                  <a:latin typeface="Arial Narrow" panose="020B0606020202030204" pitchFamily="34" charset="0"/>
                </a:rPr>
                <a:t> или заполнить форму регистрации </a:t>
              </a:r>
            </a:p>
            <a:p>
              <a:r>
                <a:rPr lang="ru-RU" b="1" dirty="0">
                  <a:latin typeface="Arial Narrow" panose="020B0606020202030204" pitchFamily="34" charset="0"/>
                </a:rPr>
                <a:t>в Личном кабинете</a:t>
              </a:r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1938775" y="5650082"/>
            <a:ext cx="2983051" cy="1304087"/>
            <a:chOff x="-946714" y="6622048"/>
            <a:chExt cx="1589861" cy="630884"/>
          </a:xfrm>
        </p:grpSpPr>
        <p:sp>
          <p:nvSpPr>
            <p:cNvPr id="21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algn="ctr" defTabSz="914400">
                <a:defRPr/>
              </a:pPr>
              <a:endParaRPr lang="ru-RU" b="1" kern="0" dirty="0">
                <a:solidFill>
                  <a:prstClr val="black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2" name="Pentagon 37"/>
            <p:cNvSpPr/>
            <p:nvPr/>
          </p:nvSpPr>
          <p:spPr>
            <a:xfrm>
              <a:off x="-946714" y="6622049"/>
              <a:ext cx="1522889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>
                <a:spcBef>
                  <a:spcPts val="1200"/>
                </a:spcBef>
              </a:pPr>
              <a:r>
                <a:rPr lang="ru-RU" b="1" dirty="0">
                  <a:latin typeface="Arial Narrow" panose="020B0606020202030204" pitchFamily="34" charset="0"/>
                </a:rPr>
                <a:t>Получить подтверждение авторизации</a:t>
              </a: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1713706" y="903688"/>
            <a:ext cx="31623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Для получения </a:t>
            </a:r>
          </a:p>
          <a:p>
            <a:pPr algn="ctr"/>
            <a:r>
              <a:rPr lang="ru-RU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бесплатного доступа </a:t>
            </a:r>
          </a:p>
          <a:p>
            <a:pPr algn="ctr"/>
            <a:r>
              <a:rPr lang="ru-RU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к сервисам необходимо:</a:t>
            </a:r>
          </a:p>
        </p:txBody>
      </p:sp>
      <p:sp>
        <p:nvSpPr>
          <p:cNvPr id="24" name="Teardrop 46"/>
          <p:cNvSpPr/>
          <p:nvPr/>
        </p:nvSpPr>
        <p:spPr>
          <a:xfrm>
            <a:off x="1632787" y="2080669"/>
            <a:ext cx="463092" cy="463092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/>
              <a:t>1</a:t>
            </a:r>
          </a:p>
        </p:txBody>
      </p:sp>
      <p:sp>
        <p:nvSpPr>
          <p:cNvPr id="25" name="Teardrop 46"/>
          <p:cNvSpPr/>
          <p:nvPr/>
        </p:nvSpPr>
        <p:spPr>
          <a:xfrm>
            <a:off x="1632787" y="3439891"/>
            <a:ext cx="463092" cy="451928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800" b="1" dirty="0"/>
              <a:t>2</a:t>
            </a:r>
            <a:endParaRPr lang="en-US" sz="2800" b="1" dirty="0"/>
          </a:p>
        </p:txBody>
      </p:sp>
      <p:sp>
        <p:nvSpPr>
          <p:cNvPr id="26" name="Teardrop 46"/>
          <p:cNvSpPr/>
          <p:nvPr/>
        </p:nvSpPr>
        <p:spPr>
          <a:xfrm>
            <a:off x="1622536" y="5637369"/>
            <a:ext cx="463092" cy="463092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800" b="1" dirty="0"/>
              <a:t>3</a:t>
            </a:r>
            <a:endParaRPr lang="en-US" sz="2800" b="1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0217403" y="704241"/>
            <a:ext cx="332808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С помощью сервисов </a:t>
            </a:r>
          </a:p>
          <a:p>
            <a:pPr algn="ctr"/>
            <a:r>
              <a:rPr lang="ru-RU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Портала Бизнес-навигатора МСП пользователь может:</a:t>
            </a: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941166" y="26995"/>
            <a:ext cx="819150" cy="866775"/>
          </a:xfrm>
          <a:prstGeom prst="rect">
            <a:avLst/>
          </a:prstGeom>
        </p:spPr>
      </p:pic>
      <p:sp>
        <p:nvSpPr>
          <p:cNvPr id="8" name="Равнобедренный треугольник 7"/>
          <p:cNvSpPr/>
          <p:nvPr/>
        </p:nvSpPr>
        <p:spPr>
          <a:xfrm rot="10800000">
            <a:off x="1989575" y="1829497"/>
            <a:ext cx="2464165" cy="16642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Равнобедренный треугольник 30"/>
          <p:cNvSpPr/>
          <p:nvPr/>
        </p:nvSpPr>
        <p:spPr>
          <a:xfrm rot="10800000">
            <a:off x="10630847" y="1613694"/>
            <a:ext cx="2464165" cy="16642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 flipV="1">
            <a:off x="3530009" y="627321"/>
            <a:ext cx="9048307" cy="7692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2372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Прямоугольник 53"/>
          <p:cNvSpPr/>
          <p:nvPr/>
        </p:nvSpPr>
        <p:spPr>
          <a:xfrm>
            <a:off x="1645683" y="1928269"/>
            <a:ext cx="12051180" cy="529033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noAutofit/>
          </a:bodyPr>
          <a:lstStyle/>
          <a:p>
            <a:pPr algn="r">
              <a:defRPr/>
            </a:pPr>
            <a:r>
              <a:rPr lang="ru-RU" sz="2000" b="1" dirty="0">
                <a:latin typeface="Arial Narrow" panose="020B0606020202030204" pitchFamily="34" charset="0"/>
                <a:ea typeface="Calibri" panose="020F0502020204030204" pitchFamily="34" charset="0"/>
              </a:rPr>
              <a:t>Объем финансирования субъектов МСП с участием гарантийной поддержки НГС – </a:t>
            </a:r>
            <a:r>
              <a:rPr lang="ru-RU" sz="2000" b="1" dirty="0">
                <a:solidFill>
                  <a:schemeClr val="accent2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86,7 млрд руб.*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661661" y="1571030"/>
            <a:ext cx="12039542" cy="529033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noAutofit/>
          </a:bodyPr>
          <a:lstStyle/>
          <a:p>
            <a:pPr algn="just">
              <a:defRPr/>
            </a:pPr>
            <a:r>
              <a:rPr lang="ru-RU" sz="2000" b="1" u="sng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ОСТОЯНИЕ 2017 ГОДА:</a:t>
            </a:r>
            <a:r>
              <a:rPr lang="ru-RU" sz="2000" b="1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      </a:t>
            </a:r>
            <a:r>
              <a:rPr lang="ru-RU" sz="2000" b="1" dirty="0">
                <a:latin typeface="Arial Narrow" panose="020B0606020202030204" pitchFamily="34" charset="0"/>
                <a:ea typeface="Calibri" panose="020F0502020204030204" pitchFamily="34" charset="0"/>
              </a:rPr>
              <a:t>Объем выданных в 2017 г. гарантий и поручительств</a:t>
            </a:r>
            <a:r>
              <a:rPr lang="en-US" sz="2000" b="1" dirty="0">
                <a:latin typeface="Arial Narrow" panose="020B0606020202030204" pitchFamily="34" charset="0"/>
                <a:ea typeface="Calibri" panose="020F0502020204030204" pitchFamily="34" charset="0"/>
              </a:rPr>
              <a:t> </a:t>
            </a:r>
            <a:r>
              <a:rPr lang="ru-RU" sz="2000" b="1" dirty="0">
                <a:latin typeface="Arial Narrow" panose="020B0606020202030204" pitchFamily="34" charset="0"/>
                <a:ea typeface="Calibri" panose="020F0502020204030204" pitchFamily="34" charset="0"/>
              </a:rPr>
              <a:t>в рамках НГС – </a:t>
            </a:r>
            <a:r>
              <a:rPr lang="ru-RU" sz="2000" b="1" dirty="0">
                <a:solidFill>
                  <a:schemeClr val="accent2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50,3 млрд руб.*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702758" y="2459646"/>
            <a:ext cx="5215345" cy="492443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>
            <a:spAutoFit/>
          </a:bodyPr>
          <a:lstStyle/>
          <a:p>
            <a:pPr lvl="0">
              <a:defRPr/>
            </a:pPr>
            <a:r>
              <a:rPr lang="ru-RU" sz="1400" b="1" dirty="0">
                <a:solidFill>
                  <a:prstClr val="black"/>
                </a:solidFill>
                <a:latin typeface="Arial Narrow" panose="020B0606020202030204" pitchFamily="34" charset="0"/>
              </a:rPr>
              <a:t>Результаты гарантийной поддержки по результатам 2014-2017 гг.</a:t>
            </a:r>
          </a:p>
          <a:p>
            <a:pPr lvl="0">
              <a:defRPr/>
            </a:pPr>
            <a:r>
              <a:rPr lang="ru-RU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 по состоянию на 9 июня  2017 г.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7247247" y="2459645"/>
            <a:ext cx="6622957" cy="477054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prstClr val="black"/>
                </a:solidFill>
                <a:latin typeface="Arial Narrow" panose="020B0606020202030204" pitchFamily="34" charset="0"/>
              </a:rPr>
              <a:t>Проекты, поступившие в рамках «Корпоративного канала» в 2016-2017 гг.</a:t>
            </a:r>
          </a:p>
          <a:p>
            <a:pPr>
              <a:defRPr/>
            </a:pPr>
            <a:r>
              <a:rPr lang="ru-RU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 по состоянию на 9 июня 2017 г.</a:t>
            </a:r>
          </a:p>
        </p:txBody>
      </p:sp>
      <p:graphicFrame>
        <p:nvGraphicFramePr>
          <p:cNvPr id="47" name="Таблица 46"/>
          <p:cNvGraphicFramePr>
            <a:graphicFrameLocks noGrp="1"/>
          </p:cNvGraphicFramePr>
          <p:nvPr>
            <p:extLst/>
          </p:nvPr>
        </p:nvGraphicFramePr>
        <p:xfrm>
          <a:off x="1649014" y="6600324"/>
          <a:ext cx="5114974" cy="1137452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289582">
                  <a:extLst>
                    <a:ext uri="{9D8B030D-6E8A-4147-A177-3AD203B41FA5}">
                      <a16:colId xmlns:a16="http://schemas.microsoft.com/office/drawing/2014/main" val="4273231377"/>
                    </a:ext>
                  </a:extLst>
                </a:gridCol>
                <a:gridCol w="698643">
                  <a:extLst>
                    <a:ext uri="{9D8B030D-6E8A-4147-A177-3AD203B41FA5}">
                      <a16:colId xmlns:a16="http://schemas.microsoft.com/office/drawing/2014/main" val="2996852050"/>
                    </a:ext>
                  </a:extLst>
                </a:gridCol>
                <a:gridCol w="977678">
                  <a:extLst>
                    <a:ext uri="{9D8B030D-6E8A-4147-A177-3AD203B41FA5}">
                      <a16:colId xmlns:a16="http://schemas.microsoft.com/office/drawing/2014/main" val="3710450122"/>
                    </a:ext>
                  </a:extLst>
                </a:gridCol>
                <a:gridCol w="1149071">
                  <a:extLst>
                    <a:ext uri="{9D8B030D-6E8A-4147-A177-3AD203B41FA5}">
                      <a16:colId xmlns:a16="http://schemas.microsoft.com/office/drawing/2014/main" val="1813780046"/>
                    </a:ext>
                  </a:extLst>
                </a:gridCol>
              </a:tblGrid>
              <a:tr h="282734">
                <a:tc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начение КПЭ, </a:t>
                      </a:r>
                      <a:r>
                        <a:rPr lang="ru-RU" sz="13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лрд рублей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5056008"/>
                  </a:ext>
                </a:extLst>
              </a:tr>
              <a:tr h="36166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Показатель</a:t>
                      </a:r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Целев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ышенн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953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ксимальное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00756"/>
                  </a:ext>
                </a:extLst>
              </a:tr>
              <a:tr h="2827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выданных гарантий </a:t>
                      </a:r>
                    </a:p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 поручительств в рамках НГС</a:t>
                      </a:r>
                      <a:endParaRPr lang="ru-RU" sz="13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04,8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06,8</a:t>
                      </a:r>
                      <a:endParaRPr lang="ru-RU" sz="20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08,8</a:t>
                      </a:r>
                      <a:endParaRPr lang="ru-RU" sz="20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1457916"/>
                  </a:ext>
                </a:extLst>
              </a:tr>
            </a:tbl>
          </a:graphicData>
        </a:graphic>
      </p:graphicFrame>
      <p:sp>
        <p:nvSpPr>
          <p:cNvPr id="51" name="TextBox 50"/>
          <p:cNvSpPr txBox="1"/>
          <p:nvPr/>
        </p:nvSpPr>
        <p:spPr>
          <a:xfrm>
            <a:off x="1624902" y="5733180"/>
            <a:ext cx="5744499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prstClr val="black"/>
                </a:solidFill>
                <a:latin typeface="Arial Narrow" panose="020B0606020202030204" pitchFamily="34" charset="0"/>
              </a:rPr>
              <a:t>Ключевые показатели эффективности Программы на 2017 г.</a:t>
            </a:r>
            <a:endParaRPr lang="ru-RU" sz="1400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1695550" y="2932925"/>
            <a:ext cx="50655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>
            <a:off x="1624903" y="6071733"/>
            <a:ext cx="50655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5187757" y="41087"/>
            <a:ext cx="7207445" cy="666162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lvl="0">
              <a:defRPr/>
            </a:pP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 Ключевые показатели гарантийной поддержки субъектов МСП</a:t>
            </a:r>
          </a:p>
          <a:p>
            <a:pPr lvl="0">
              <a:defRPr/>
            </a:pP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(выдача независимых гарантий и поручительств)</a:t>
            </a:r>
          </a:p>
        </p:txBody>
      </p:sp>
      <p:graphicFrame>
        <p:nvGraphicFramePr>
          <p:cNvPr id="53" name="Таблица 52"/>
          <p:cNvGraphicFramePr>
            <a:graphicFrameLocks noGrp="1"/>
          </p:cNvGraphicFramePr>
          <p:nvPr>
            <p:extLst/>
          </p:nvPr>
        </p:nvGraphicFramePr>
        <p:xfrm>
          <a:off x="1673139" y="3375301"/>
          <a:ext cx="5090851" cy="1754105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139113">
                  <a:extLst>
                    <a:ext uri="{9D8B030D-6E8A-4147-A177-3AD203B41FA5}">
                      <a16:colId xmlns:a16="http://schemas.microsoft.com/office/drawing/2014/main" val="4273231377"/>
                    </a:ext>
                  </a:extLst>
                </a:gridCol>
                <a:gridCol w="1035212">
                  <a:extLst>
                    <a:ext uri="{9D8B030D-6E8A-4147-A177-3AD203B41FA5}">
                      <a16:colId xmlns:a16="http://schemas.microsoft.com/office/drawing/2014/main" val="2996852050"/>
                    </a:ext>
                  </a:extLst>
                </a:gridCol>
                <a:gridCol w="958263">
                  <a:extLst>
                    <a:ext uri="{9D8B030D-6E8A-4147-A177-3AD203B41FA5}">
                      <a16:colId xmlns:a16="http://schemas.microsoft.com/office/drawing/2014/main" val="959900741"/>
                    </a:ext>
                  </a:extLst>
                </a:gridCol>
                <a:gridCol w="958263">
                  <a:extLst>
                    <a:ext uri="{9D8B030D-6E8A-4147-A177-3AD203B41FA5}">
                      <a16:colId xmlns:a16="http://schemas.microsoft.com/office/drawing/2014/main" val="1813780046"/>
                    </a:ext>
                  </a:extLst>
                </a:gridCol>
              </a:tblGrid>
              <a:tr h="628605">
                <a:tc gridSpan="2"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 заявок,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т.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умма,</a:t>
                      </a:r>
                      <a:r>
                        <a:rPr lang="ru-RU" sz="13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лрд</a:t>
                      </a:r>
                      <a:r>
                        <a:rPr lang="ru-RU" sz="13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рублей</a:t>
                      </a:r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5056008"/>
                  </a:ext>
                </a:extLst>
              </a:tr>
              <a:tr h="95858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текущего портфеля Корпорации МСП</a:t>
                      </a:r>
                      <a:endParaRPr lang="ru-RU" sz="1800" b="1" i="0" u="none" strike="noStrike" baseline="3000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6 07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94,6**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1457916"/>
                  </a:ext>
                </a:extLst>
              </a:tr>
              <a:tr h="147971">
                <a:tc>
                  <a:txBody>
                    <a:bodyPr/>
                    <a:lstStyle/>
                    <a:p>
                      <a:pPr algn="l" fontAlgn="ctr"/>
                      <a:endParaRPr lang="ru-RU" sz="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443891"/>
                  </a:ext>
                </a:extLst>
              </a:tr>
            </a:tbl>
          </a:graphicData>
        </a:graphic>
      </p:graphicFrame>
      <p:sp>
        <p:nvSpPr>
          <p:cNvPr id="69" name="TextBox 68"/>
          <p:cNvSpPr txBox="1"/>
          <p:nvPr/>
        </p:nvSpPr>
        <p:spPr>
          <a:xfrm>
            <a:off x="7247246" y="5733344"/>
            <a:ext cx="5558776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prstClr val="black"/>
                </a:solidFill>
                <a:latin typeface="Arial Narrow" panose="020B0606020202030204" pitchFamily="34" charset="0"/>
              </a:rPr>
              <a:t>Сроки рассмотрения заявок по сегментам (Корпорация МСП)</a:t>
            </a: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7260157" y="2932925"/>
            <a:ext cx="644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>
            <a:off x="7171659" y="6071733"/>
            <a:ext cx="653810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/>
          <p:cNvGrpSpPr/>
          <p:nvPr/>
        </p:nvGrpSpPr>
        <p:grpSpPr>
          <a:xfrm>
            <a:off x="7197058" y="6218621"/>
            <a:ext cx="6557837" cy="1515884"/>
            <a:chOff x="5816172" y="6474816"/>
            <a:chExt cx="4266262" cy="1515884"/>
          </a:xfrm>
        </p:grpSpPr>
        <p:grpSp>
          <p:nvGrpSpPr>
            <p:cNvPr id="71" name="Группа 70"/>
            <p:cNvGrpSpPr/>
            <p:nvPr/>
          </p:nvGrpSpPr>
          <p:grpSpPr>
            <a:xfrm>
              <a:off x="5868892" y="6474816"/>
              <a:ext cx="4175791" cy="1353793"/>
              <a:chOff x="7124699" y="2596568"/>
              <a:chExt cx="2556218" cy="1911995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72" name="Rectangle 1"/>
              <p:cNvSpPr>
                <a:spLocks/>
              </p:cNvSpPr>
              <p:nvPr/>
            </p:nvSpPr>
            <p:spPr bwMode="auto">
              <a:xfrm rot="5400000">
                <a:off x="8277423" y="3105069"/>
                <a:ext cx="1911995" cy="894993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/>
            </p:spPr>
            <p:txBody>
              <a:bodyPr lIns="0" tIns="0" rIns="0" bIns="0"/>
              <a:lstStyle/>
              <a:p>
                <a:pPr>
                  <a:defRPr/>
                </a:pPr>
                <a:endParaRPr lang="en-US" sz="1600" dirty="0">
                  <a:solidFill>
                    <a:srgbClr val="0070C0"/>
                  </a:solidFill>
                  <a:latin typeface="Calibri"/>
                </a:endParaRPr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 rot="5400000">
                <a:off x="6940280" y="3554518"/>
                <a:ext cx="1137564" cy="768726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 sz="1400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74" name="Rectangle 1"/>
              <p:cNvSpPr>
                <a:spLocks/>
              </p:cNvSpPr>
              <p:nvPr/>
            </p:nvSpPr>
            <p:spPr bwMode="auto">
              <a:xfrm rot="5400000">
                <a:off x="7612597" y="3310747"/>
                <a:ext cx="1452920" cy="820202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/>
            </p:spPr>
            <p:txBody>
              <a:bodyPr lIns="0" tIns="0" rIns="0" bIns="0"/>
              <a:lstStyle/>
              <a:p>
                <a:pPr>
                  <a:defRPr/>
                </a:pPr>
                <a:endParaRPr lang="en-US" sz="160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sp>
          <p:nvSpPr>
            <p:cNvPr id="75" name="Rectangle 6"/>
            <p:cNvSpPr>
              <a:spLocks noChangeArrowheads="1"/>
            </p:cNvSpPr>
            <p:nvPr/>
          </p:nvSpPr>
          <p:spPr bwMode="auto">
            <a:xfrm>
              <a:off x="6019758" y="7141713"/>
              <a:ext cx="954044" cy="304210"/>
            </a:xfrm>
            <a:prstGeom prst="rect">
              <a:avLst/>
            </a:prstGeom>
            <a:solidFill>
              <a:srgbClr val="A2C9F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algn="ctr">
                <a:defRPr/>
              </a:pPr>
              <a:r>
                <a:rPr lang="en-US" b="1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&lt; 15</a:t>
              </a:r>
              <a:r>
                <a:rPr lang="ru-RU" b="1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 млн руб.</a:t>
              </a:r>
            </a:p>
            <a:p>
              <a:pPr algn="ctr">
                <a:defRPr/>
              </a:pPr>
              <a:r>
                <a:rPr lang="ru-RU" b="1" dirty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rPr>
                <a:t>до 3 дней</a:t>
              </a:r>
            </a:p>
          </p:txBody>
        </p:sp>
        <p:sp>
          <p:nvSpPr>
            <p:cNvPr id="76" name="Rectangle 6"/>
            <p:cNvSpPr>
              <a:spLocks noChangeArrowheads="1"/>
            </p:cNvSpPr>
            <p:nvPr/>
          </p:nvSpPr>
          <p:spPr bwMode="auto">
            <a:xfrm>
              <a:off x="7353042" y="7066406"/>
              <a:ext cx="1006844" cy="200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algn="ctr">
                <a:defRPr/>
              </a:pPr>
              <a:r>
                <a:rPr lang="ru-RU" b="1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15 –</a:t>
              </a:r>
              <a:r>
                <a:rPr lang="en-US" b="1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 50</a:t>
              </a:r>
              <a:r>
                <a:rPr lang="ru-RU" b="1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 млн руб.</a:t>
              </a:r>
            </a:p>
            <a:p>
              <a:pPr algn="ctr">
                <a:defRPr/>
              </a:pPr>
              <a:r>
                <a:rPr lang="ru-RU" b="1" dirty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rPr>
                <a:t>до 5 дней</a:t>
              </a:r>
            </a:p>
          </p:txBody>
        </p:sp>
        <p:sp>
          <p:nvSpPr>
            <p:cNvPr id="77" name="Rectangle 6"/>
            <p:cNvSpPr>
              <a:spLocks noChangeArrowheads="1"/>
            </p:cNvSpPr>
            <p:nvPr/>
          </p:nvSpPr>
          <p:spPr bwMode="auto">
            <a:xfrm>
              <a:off x="8771778" y="6587013"/>
              <a:ext cx="1081451" cy="71713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algn="ctr">
                <a:defRPr/>
              </a:pPr>
              <a:r>
                <a:rPr lang="en-US" b="1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&gt; 50 </a:t>
              </a:r>
              <a:r>
                <a:rPr lang="ru-RU" b="1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млн руб.</a:t>
              </a:r>
            </a:p>
            <a:p>
              <a:pPr algn="ctr">
                <a:defRPr/>
              </a:pPr>
              <a:r>
                <a:rPr lang="ru-RU" b="1" dirty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rPr>
                <a:t>до 10 дней</a:t>
              </a:r>
            </a:p>
          </p:txBody>
        </p:sp>
        <p:sp>
          <p:nvSpPr>
            <p:cNvPr id="78" name="Прямоугольник 77"/>
            <p:cNvSpPr/>
            <p:nvPr/>
          </p:nvSpPr>
          <p:spPr>
            <a:xfrm rot="10800000">
              <a:off x="5868890" y="7582327"/>
              <a:ext cx="4175791" cy="408373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600" dirty="0">
                <a:solidFill>
                  <a:prstClr val="white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79" name="Rectangle 6"/>
            <p:cNvSpPr>
              <a:spLocks noChangeArrowheads="1"/>
            </p:cNvSpPr>
            <p:nvPr/>
          </p:nvSpPr>
          <p:spPr bwMode="auto">
            <a:xfrm>
              <a:off x="5816172" y="7673418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>
                <a:defRPr/>
              </a:pPr>
              <a:r>
                <a:rPr lang="ru-RU" sz="1200" b="1" dirty="0">
                  <a:solidFill>
                    <a:prstClr val="white"/>
                  </a:solidFill>
                  <a:latin typeface="Arial Narrow" panose="020B0606020202030204" pitchFamily="34" charset="0"/>
                </a:rPr>
                <a:t>Микро-сегмент</a:t>
              </a:r>
            </a:p>
          </p:txBody>
        </p:sp>
        <p:sp>
          <p:nvSpPr>
            <p:cNvPr id="80" name="Rectangle 6"/>
            <p:cNvSpPr>
              <a:spLocks noChangeArrowheads="1"/>
            </p:cNvSpPr>
            <p:nvPr/>
          </p:nvSpPr>
          <p:spPr bwMode="auto">
            <a:xfrm>
              <a:off x="7279933" y="7694181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>
                <a:defRPr/>
              </a:pPr>
              <a:r>
                <a:rPr lang="ru-RU" sz="1200" b="1" dirty="0">
                  <a:solidFill>
                    <a:prstClr val="white"/>
                  </a:solidFill>
                  <a:latin typeface="Arial Narrow" panose="020B0606020202030204" pitchFamily="34" charset="0"/>
                </a:rPr>
                <a:t>Малый сегмент</a:t>
              </a:r>
            </a:p>
          </p:txBody>
        </p:sp>
        <p:sp>
          <p:nvSpPr>
            <p:cNvPr id="81" name="Rectangle 6"/>
            <p:cNvSpPr>
              <a:spLocks noChangeArrowheads="1"/>
            </p:cNvSpPr>
            <p:nvPr/>
          </p:nvSpPr>
          <p:spPr bwMode="auto">
            <a:xfrm>
              <a:off x="8704195" y="7694181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algn="ctr">
                <a:defRPr/>
              </a:pPr>
              <a:r>
                <a:rPr lang="ru-RU" sz="1200" b="1" dirty="0">
                  <a:solidFill>
                    <a:prstClr val="white"/>
                  </a:solidFill>
                  <a:latin typeface="Arial Narrow" panose="020B0606020202030204" pitchFamily="34" charset="0"/>
                </a:rPr>
                <a:t>Средний сегмент</a:t>
              </a:r>
            </a:p>
          </p:txBody>
        </p:sp>
      </p:grpSp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227"/>
          <a:stretch/>
        </p:blipFill>
        <p:spPr bwMode="auto">
          <a:xfrm rot="5400000">
            <a:off x="8328927" y="3325952"/>
            <a:ext cx="1626626" cy="2337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Isosceles Triangle 5"/>
          <p:cNvSpPr/>
          <p:nvPr/>
        </p:nvSpPr>
        <p:spPr>
          <a:xfrm rot="10800000">
            <a:off x="7574265" y="3599893"/>
            <a:ext cx="3135946" cy="1695220"/>
          </a:xfrm>
          <a:prstGeom prst="triangle">
            <a:avLst/>
          </a:prstGeom>
          <a:solidFill>
            <a:srgbClr val="658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14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9" name="AutoShape 2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6200000" flipH="1">
            <a:off x="7756804" y="4394684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0" name="AutoShape 2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6200000" flipH="1">
            <a:off x="8137500" y="4394684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1" name="AutoShape 2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6200000" flipH="1">
            <a:off x="8518197" y="4394685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3" name="Rectangle 47"/>
          <p:cNvSpPr/>
          <p:nvPr/>
        </p:nvSpPr>
        <p:spPr>
          <a:xfrm rot="5400000">
            <a:off x="8862362" y="2397870"/>
            <a:ext cx="444811" cy="3250888"/>
          </a:xfrm>
          <a:prstGeom prst="rect">
            <a:avLst/>
          </a:pr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lvl="0">
              <a:defRPr/>
            </a:pPr>
            <a:r>
              <a:rPr lang="ru-RU" sz="1200" b="1" dirty="0">
                <a:solidFill>
                  <a:prstClr val="white"/>
                </a:solidFill>
                <a:latin typeface="Arial Narrow" panose="020B0606020202030204" pitchFamily="34" charset="0"/>
              </a:rPr>
              <a:t>Проекты, принятые под «оферту»</a:t>
            </a:r>
          </a:p>
        </p:txBody>
      </p:sp>
      <p:sp>
        <p:nvSpPr>
          <p:cNvPr id="24" name="Rectangle 48"/>
          <p:cNvSpPr/>
          <p:nvPr/>
        </p:nvSpPr>
        <p:spPr>
          <a:xfrm rot="5400000">
            <a:off x="8848834" y="2948031"/>
            <a:ext cx="466460" cy="3250888"/>
          </a:xfrm>
          <a:prstGeom prst="rect">
            <a:avLst/>
          </a:pr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>
              <a:defRPr/>
            </a:pPr>
            <a:r>
              <a:rPr lang="ru-RU" sz="1200" b="1" dirty="0">
                <a:solidFill>
                  <a:prstClr val="white"/>
                </a:solidFill>
                <a:latin typeface="Arial Narrow" panose="020B0606020202030204" pitchFamily="34" charset="0"/>
              </a:rPr>
              <a:t>Проекты, находящиеся </a:t>
            </a:r>
          </a:p>
          <a:p>
            <a:pPr>
              <a:defRPr/>
            </a:pPr>
            <a:r>
              <a:rPr lang="ru-RU" sz="1200" b="1" dirty="0">
                <a:solidFill>
                  <a:prstClr val="white"/>
                </a:solidFill>
                <a:latin typeface="Arial Narrow" panose="020B0606020202030204" pitchFamily="34" charset="0"/>
              </a:rPr>
              <a:t>на рассмотрении в банках-партнерах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8486668" y="3007936"/>
            <a:ext cx="1194684" cy="551930"/>
            <a:chOff x="2539523" y="2241756"/>
            <a:chExt cx="2218690" cy="361167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5" name="Rectangle 6"/>
            <p:cNvSpPr/>
            <p:nvPr/>
          </p:nvSpPr>
          <p:spPr>
            <a:xfrm>
              <a:off x="2539523" y="2241756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defRPr/>
              </a:pPr>
              <a:endParaRPr lang="en-US" sz="1050" b="1" dirty="0">
                <a:solidFill>
                  <a:prstClr val="black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36" name="Rectangle 6"/>
            <p:cNvSpPr/>
            <p:nvPr/>
          </p:nvSpPr>
          <p:spPr>
            <a:xfrm>
              <a:off x="2603303" y="2299941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defRPr/>
              </a:pPr>
              <a:endParaRPr lang="en-US" sz="1050" b="1" dirty="0">
                <a:solidFill>
                  <a:prstClr val="black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37" name="Rectangle 6"/>
            <p:cNvSpPr/>
            <p:nvPr/>
          </p:nvSpPr>
          <p:spPr>
            <a:xfrm>
              <a:off x="2667083" y="2358127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defRPr/>
              </a:pPr>
              <a:r>
                <a:rPr lang="ru-RU" sz="1200" b="1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Проекты</a:t>
              </a:r>
              <a:endParaRPr lang="en-US" sz="1200" b="1" dirty="0">
                <a:solidFill>
                  <a:prstClr val="black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46" name="Rectangle 48"/>
          <p:cNvSpPr/>
          <p:nvPr/>
        </p:nvSpPr>
        <p:spPr>
          <a:xfrm rot="5400000">
            <a:off x="8925821" y="3469542"/>
            <a:ext cx="312487" cy="325088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>
              <a:defRPr/>
            </a:pPr>
            <a:r>
              <a:rPr lang="ru-RU" sz="1200" b="1" dirty="0">
                <a:solidFill>
                  <a:prstClr val="white"/>
                </a:solidFill>
                <a:latin typeface="Arial Narrow" panose="020B0606020202030204" pitchFamily="34" charset="0"/>
              </a:rPr>
              <a:t>Итого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7247246" y="2965399"/>
            <a:ext cx="6452084" cy="258831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659789" y="7962541"/>
            <a:ext cx="11690181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lvl="0">
              <a:defRPr/>
            </a:pPr>
            <a:r>
              <a:rPr lang="en-US" sz="1000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*</a:t>
            </a:r>
            <a:r>
              <a:rPr lang="ru-RU" sz="1000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 - объем гарантийной и финансовой поддержки предоставленной в 2017 г.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Корпорацией МСП, МСП Банком и РГО</a:t>
            </a:r>
            <a:r>
              <a:rPr lang="ru-RU" sz="1000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 (по состоянию на 9 июня 2017 г.)</a:t>
            </a:r>
          </a:p>
          <a:p>
            <a:pPr lvl="0">
              <a:defRPr/>
            </a:pPr>
            <a:r>
              <a:rPr lang="ru-RU" sz="1000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** - при этом объем выдачи гарантий и поручительств Корпорации нарастающим итогом с 2014 г., включая закрытые гарантии и поручительства, составил 113,4 млрд рублей</a:t>
            </a: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2249" y="-38838"/>
            <a:ext cx="2163618" cy="984251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1659449" y="1002537"/>
            <a:ext cx="12050316" cy="64366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lvl="3">
              <a:defRPr/>
            </a:pPr>
            <a:endParaRPr lang="ru-RU" b="1" dirty="0">
              <a:solidFill>
                <a:srgbClr val="E5581F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13298107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889000">
              <a:lnSpc>
                <a:spcPct val="80000"/>
              </a:lnSpc>
              <a:spcBef>
                <a:spcPct val="0"/>
              </a:spcBef>
            </a:pPr>
            <a:r>
              <a:rPr lang="ru-RU" sz="1200" dirty="0" smtClean="0">
                <a:latin typeface="Arial Narrow" panose="020B0606020202030204" pitchFamily="34" charset="0"/>
              </a:rPr>
              <a:t>8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1662907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4" name="Таблица 63"/>
          <p:cNvGraphicFramePr>
            <a:graphicFrameLocks noGrp="1"/>
          </p:cNvGraphicFramePr>
          <p:nvPr>
            <p:extLst/>
          </p:nvPr>
        </p:nvGraphicFramePr>
        <p:xfrm>
          <a:off x="10802223" y="3023377"/>
          <a:ext cx="2872185" cy="2334999"/>
        </p:xfrm>
        <a:graphic>
          <a:graphicData uri="http://schemas.openxmlformats.org/drawingml/2006/table">
            <a:tbl>
              <a:tblPr/>
              <a:tblGrid>
                <a:gridCol w="469620">
                  <a:extLst>
                    <a:ext uri="{9D8B030D-6E8A-4147-A177-3AD203B41FA5}">
                      <a16:colId xmlns:a16="http://schemas.microsoft.com/office/drawing/2014/main" val="495193945"/>
                    </a:ext>
                  </a:extLst>
                </a:gridCol>
                <a:gridCol w="594967">
                  <a:extLst>
                    <a:ext uri="{9D8B030D-6E8A-4147-A177-3AD203B41FA5}">
                      <a16:colId xmlns:a16="http://schemas.microsoft.com/office/drawing/2014/main" val="1680857824"/>
                    </a:ext>
                  </a:extLst>
                </a:gridCol>
                <a:gridCol w="903799">
                  <a:extLst>
                    <a:ext uri="{9D8B030D-6E8A-4147-A177-3AD203B41FA5}">
                      <a16:colId xmlns:a16="http://schemas.microsoft.com/office/drawing/2014/main" val="299551079"/>
                    </a:ext>
                  </a:extLst>
                </a:gridCol>
                <a:gridCol w="903799">
                  <a:extLst>
                    <a:ext uri="{9D8B030D-6E8A-4147-A177-3AD203B41FA5}">
                      <a16:colId xmlns:a16="http://schemas.microsoft.com/office/drawing/2014/main" val="3524216336"/>
                    </a:ext>
                  </a:extLst>
                </a:gridCol>
              </a:tblGrid>
              <a:tr h="72428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Кол-во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шт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лей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Поручительства         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Всего, </a:t>
                      </a:r>
                    </a:p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 и поручительства         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8550116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1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1,2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8,1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9,3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5401196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62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4,9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6,1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51,0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5855527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36,1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34,2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70,3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6953685"/>
                  </a:ext>
                </a:extLst>
              </a:tr>
            </a:tbl>
          </a:graphicData>
        </a:graphic>
      </p:graphicFrame>
      <p:pic>
        <p:nvPicPr>
          <p:cNvPr id="55" name="Рисунок 5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149931" y="54868"/>
            <a:ext cx="1549399" cy="779127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1722298" y="1073138"/>
            <a:ext cx="150874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chemeClr val="accent2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2016 год:</a:t>
            </a:r>
            <a:endParaRPr lang="ru-RU" sz="2800" dirty="0">
              <a:solidFill>
                <a:schemeClr val="accent2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171031" y="978506"/>
            <a:ext cx="109351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chemeClr val="accent2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Объем выданных гарантий и поручительств</a:t>
            </a:r>
            <a:r>
              <a:rPr lang="en-US" b="1" dirty="0">
                <a:solidFill>
                  <a:schemeClr val="accent2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 </a:t>
            </a:r>
            <a:r>
              <a:rPr lang="ru-RU" b="1" dirty="0">
                <a:solidFill>
                  <a:schemeClr val="accent2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 рамках НГС</a:t>
            </a:r>
            <a:r>
              <a:rPr lang="en-US" b="1" dirty="0">
                <a:solidFill>
                  <a:schemeClr val="accent2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 </a:t>
            </a:r>
            <a:r>
              <a:rPr lang="ru-RU" b="1" dirty="0">
                <a:solidFill>
                  <a:schemeClr val="accent2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составил 100,08 млрд руб.</a:t>
            </a:r>
          </a:p>
          <a:p>
            <a:pPr>
              <a:defRPr/>
            </a:pPr>
            <a:r>
              <a:rPr lang="ru-RU" b="1" dirty="0">
                <a:solidFill>
                  <a:schemeClr val="accent2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Объем финансирования субъектов МСП, полученный с участием гарантийной поддержки НГС - 172 млрд руб.</a:t>
            </a:r>
          </a:p>
        </p:txBody>
      </p:sp>
    </p:spTree>
    <p:extLst>
      <p:ext uri="{BB962C8B-B14F-4D97-AF65-F5344CB8AC3E}">
        <p14:creationId xmlns:p14="http://schemas.microsoft.com/office/powerpoint/2010/main" val="4172191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2249" y="-38838"/>
            <a:ext cx="2163618" cy="984251"/>
          </a:xfrm>
          <a:prstGeom prst="rect">
            <a:avLst/>
          </a:prstGeom>
        </p:spPr>
      </p:pic>
      <p:sp>
        <p:nvSpPr>
          <p:cNvPr id="49" name="TextBox 48"/>
          <p:cNvSpPr txBox="1"/>
          <p:nvPr/>
        </p:nvSpPr>
        <p:spPr>
          <a:xfrm>
            <a:off x="1673750" y="1618096"/>
            <a:ext cx="7094353" cy="502549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Ключевые условия Программы 6,5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568406" y="2118942"/>
            <a:ext cx="7199697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7200" algn="just">
              <a:spcBef>
                <a:spcPts val="200"/>
              </a:spcBef>
              <a:buFont typeface="Wingdings" panose="05000000000000000000" pitchFamily="2" charset="2"/>
              <a:buChar char="§"/>
              <a:defRPr/>
            </a:pP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</a:rPr>
              <a:t>Процентная ставка – </a:t>
            </a:r>
            <a:r>
              <a:rPr lang="ru-RU" b="1" dirty="0">
                <a:solidFill>
                  <a:prstClr val="black"/>
                </a:solidFill>
                <a:latin typeface="Arial Narrow" panose="020B0606020202030204" pitchFamily="34" charset="0"/>
              </a:rPr>
              <a:t>10,6% 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</a:rPr>
              <a:t>для субъектов малого предпринимательства и </a:t>
            </a:r>
            <a:r>
              <a:rPr lang="ru-RU" b="1" dirty="0">
                <a:solidFill>
                  <a:prstClr val="black"/>
                </a:solidFill>
                <a:latin typeface="Arial Narrow" panose="020B0606020202030204" pitchFamily="34" charset="0"/>
              </a:rPr>
              <a:t>9,6%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</a:rPr>
              <a:t> - для субъектов среднего предпринимательства</a:t>
            </a:r>
          </a:p>
          <a:p>
            <a:pPr indent="457200" algn="just">
              <a:spcBef>
                <a:spcPts val="200"/>
              </a:spcBef>
              <a:buFont typeface="Wingdings" panose="05000000000000000000" pitchFamily="2" charset="2"/>
              <a:buChar char="§"/>
              <a:defRPr/>
            </a:pP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</a:rPr>
              <a:t>Срок льготного фондирования </a:t>
            </a:r>
            <a:r>
              <a:rPr lang="ru-RU" b="1" dirty="0">
                <a:solidFill>
                  <a:prstClr val="black"/>
                </a:solidFill>
                <a:latin typeface="Arial Narrow" panose="020B0606020202030204" pitchFamily="34" charset="0"/>
              </a:rPr>
              <a:t>до 3 лет 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</a:rPr>
              <a:t>(срок кредита может превышать срок льготного фондирования)</a:t>
            </a:r>
          </a:p>
          <a:p>
            <a:pPr indent="457200" algn="just">
              <a:spcBef>
                <a:spcPts val="200"/>
              </a:spcBef>
              <a:buFont typeface="Wingdings" panose="05000000000000000000" pitchFamily="2" charset="2"/>
              <a:buChar char="§"/>
              <a:defRPr/>
            </a:pP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</a:rPr>
              <a:t>Размер кредита: от</a:t>
            </a:r>
            <a:r>
              <a:rPr lang="ru-RU" b="1" dirty="0">
                <a:solidFill>
                  <a:prstClr val="black"/>
                </a:solidFill>
                <a:latin typeface="Arial Narrow" panose="020B0606020202030204" pitchFamily="34" charset="0"/>
              </a:rPr>
              <a:t> 5 млн руб. 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</a:rPr>
              <a:t>до </a:t>
            </a:r>
            <a:r>
              <a:rPr lang="ru-RU" b="1" dirty="0">
                <a:solidFill>
                  <a:prstClr val="black"/>
                </a:solidFill>
                <a:latin typeface="Arial Narrow" panose="020B0606020202030204" pitchFamily="34" charset="0"/>
              </a:rPr>
              <a:t>1 млрд руб. 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</a:rPr>
              <a:t>(общий кредитный лимит на заемщика - до</a:t>
            </a:r>
            <a:r>
              <a:rPr lang="ru-RU" b="1" dirty="0">
                <a:solidFill>
                  <a:prstClr val="black"/>
                </a:solidFill>
                <a:latin typeface="Arial Narrow" panose="020B0606020202030204" pitchFamily="34" charset="0"/>
              </a:rPr>
              <a:t> 4 млрд руб.)</a:t>
            </a:r>
          </a:p>
          <a:p>
            <a:pPr indent="457200" algn="just">
              <a:spcBef>
                <a:spcPts val="200"/>
              </a:spcBef>
              <a:buFont typeface="Wingdings" panose="05000000000000000000" pitchFamily="2" charset="2"/>
              <a:buChar char="§"/>
              <a:defRPr/>
            </a:pPr>
            <a:r>
              <a:rPr lang="ru-RU" b="1" dirty="0">
                <a:solidFill>
                  <a:prstClr val="black"/>
                </a:solidFill>
                <a:latin typeface="Arial Narrow" panose="020B0606020202030204" pitchFamily="34" charset="0"/>
              </a:rPr>
              <a:t>Приоритетные отрасли: </a:t>
            </a:r>
          </a:p>
          <a:p>
            <a:pPr marL="742950" lvl="1" indent="-285750" algn="just">
              <a:spcBef>
                <a:spcPts val="200"/>
              </a:spcBef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ельское хозяйство, </a:t>
            </a:r>
          </a:p>
          <a:p>
            <a:pPr marL="742950" lvl="1" indent="-285750" algn="just">
              <a:spcBef>
                <a:spcPts val="200"/>
              </a:spcBef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брабатывающее производство, </a:t>
            </a:r>
          </a:p>
          <a:p>
            <a:pPr marL="742950" lvl="1" indent="-285750" algn="just">
              <a:spcBef>
                <a:spcPts val="200"/>
              </a:spcBef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роизводство и распределение электроэнергии, газа и воды, </a:t>
            </a:r>
          </a:p>
          <a:p>
            <a:pPr marL="742950" lvl="1" indent="-285750" algn="just">
              <a:spcBef>
                <a:spcPts val="200"/>
              </a:spcBef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троительство, </a:t>
            </a:r>
          </a:p>
          <a:p>
            <a:pPr marL="742950" lvl="1" indent="-285750" algn="just">
              <a:spcBef>
                <a:spcPts val="200"/>
              </a:spcBef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транспорт и связь, </a:t>
            </a:r>
          </a:p>
          <a:p>
            <a:pPr marL="742950" lvl="1" indent="-285750" algn="just">
              <a:spcBef>
                <a:spcPts val="200"/>
              </a:spcBef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туристская деятельность, </a:t>
            </a:r>
          </a:p>
          <a:p>
            <a:pPr marL="742950" lvl="1" indent="-285750" algn="just">
              <a:spcBef>
                <a:spcPts val="200"/>
              </a:spcBef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здравоохранение, </a:t>
            </a:r>
          </a:p>
          <a:p>
            <a:pPr marL="742950" lvl="1" indent="-285750" algn="just">
              <a:spcBef>
                <a:spcPts val="200"/>
              </a:spcBef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бор, обработка и утилизация отходов,  </a:t>
            </a:r>
          </a:p>
          <a:p>
            <a:pPr algn="just">
              <a:spcBef>
                <a:spcPts val="200"/>
              </a:spcBef>
              <a:defRPr/>
            </a:pPr>
            <a:endParaRPr lang="ru-RU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8998042" y="1617054"/>
            <a:ext cx="4693443" cy="418999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44000" tIns="72000" rIns="72000" bIns="72000" rtlCol="0" anchor="t" anchorCtr="0">
            <a:noAutofit/>
          </a:bodyPr>
          <a:lstStyle/>
          <a:p>
            <a:pPr>
              <a:defRPr/>
            </a:pPr>
            <a:r>
              <a:rPr lang="ru-RU" sz="20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Результаты реализации Программы 6,5 </a:t>
            </a:r>
          </a:p>
          <a:p>
            <a:pPr lvl="0">
              <a:defRPr/>
            </a:pPr>
            <a:r>
              <a:rPr lang="ru-RU" sz="1200" dirty="0">
                <a:solidFill>
                  <a:schemeClr val="bg1"/>
                </a:solidFill>
                <a:latin typeface="Arial Narrow" panose="020B0606020202030204" pitchFamily="34" charset="0"/>
              </a:rPr>
              <a:t>по состоянию на 9 июня 2017 г.</a:t>
            </a:r>
          </a:p>
        </p:txBody>
      </p:sp>
      <p:graphicFrame>
        <p:nvGraphicFramePr>
          <p:cNvPr id="70" name="Таблица 69"/>
          <p:cNvGraphicFramePr>
            <a:graphicFrameLocks noGrp="1"/>
          </p:cNvGraphicFramePr>
          <p:nvPr>
            <p:extLst/>
          </p:nvPr>
        </p:nvGraphicFramePr>
        <p:xfrm>
          <a:off x="9124927" y="2381466"/>
          <a:ext cx="4441371" cy="3306547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3424411">
                  <a:extLst>
                    <a:ext uri="{9D8B030D-6E8A-4147-A177-3AD203B41FA5}">
                      <a16:colId xmlns:a16="http://schemas.microsoft.com/office/drawing/2014/main" val="4273231377"/>
                    </a:ext>
                  </a:extLst>
                </a:gridCol>
                <a:gridCol w="1016960">
                  <a:extLst>
                    <a:ext uri="{9D8B030D-6E8A-4147-A177-3AD203B41FA5}">
                      <a16:colId xmlns:a16="http://schemas.microsoft.com/office/drawing/2014/main" val="3077281128"/>
                    </a:ext>
                  </a:extLst>
                </a:gridCol>
              </a:tblGrid>
              <a:tr h="65496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казатель                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начение, </a:t>
                      </a:r>
                    </a:p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лрд руб.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00756"/>
                  </a:ext>
                </a:extLst>
              </a:tr>
              <a:tr h="65496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Лимит,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  <a:p>
                      <a:pPr algn="l" fontAlgn="ctr"/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утвержденный Банком России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25,00</a:t>
                      </a:r>
                      <a:endParaRPr lang="ru-RU" sz="2400" b="1" i="0" u="none" strike="noStrike" dirty="0">
                        <a:solidFill>
                          <a:srgbClr val="0070C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1457916"/>
                  </a:ext>
                </a:extLst>
              </a:tr>
              <a:tr h="73802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Выбрано</a:t>
                      </a:r>
                      <a:r>
                        <a:rPr lang="ru-RU" sz="1600" b="0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уполномоченными банками </a:t>
                      </a:r>
                    </a:p>
                    <a:p>
                      <a:pPr algn="l" fontAlgn="ctr"/>
                      <a:r>
                        <a:rPr lang="ru-RU" sz="1600" b="0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од поручительства Корпорации МСП </a:t>
                      </a:r>
                      <a:endParaRPr lang="ru-RU" sz="16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72,11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2132913"/>
                  </a:ext>
                </a:extLst>
              </a:tr>
              <a:tr h="60363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Выбрано МСП Банком</a:t>
                      </a:r>
                      <a:endParaRPr lang="ru-RU" sz="16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33,83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8483519"/>
                  </a:ext>
                </a:extLst>
              </a:tr>
              <a:tr h="65496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Итого выбрано </a:t>
                      </a:r>
                      <a:r>
                        <a:rPr lang="ru-RU" sz="1600" b="1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орпорацией МСП </a:t>
                      </a:r>
                    </a:p>
                    <a:p>
                      <a:pPr algn="l" fontAlgn="ctr"/>
                      <a:r>
                        <a:rPr lang="ru-RU" sz="1600" b="1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и </a:t>
                      </a:r>
                      <a:r>
                        <a:rPr lang="ru-RU" sz="16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МСП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Банком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05,94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9677027"/>
                  </a:ext>
                </a:extLst>
              </a:tr>
            </a:tbl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5243368" y="45338"/>
            <a:ext cx="9172701" cy="851085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>
              <a:defRPr/>
            </a:pP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Программа стимулирования кредитования субъектов МСП</a:t>
            </a:r>
            <a:b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</a:b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(«Программа 6,5»)</a:t>
            </a:r>
            <a:endParaRPr lang="ru-RU" sz="2000" b="1" dirty="0">
              <a:solidFill>
                <a:schemeClr val="accent5">
                  <a:lumMod val="75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9139669" y="5807048"/>
            <a:ext cx="4505233" cy="52322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lvl="0" algn="just">
              <a:defRPr/>
            </a:pPr>
            <a:r>
              <a:rPr lang="ru-RU" sz="1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6020202030204" pitchFamily="34" charset="0"/>
              </a:rPr>
              <a:t>Источник: Реестр заявок, формируемый ДСГО на ежедневной основе, оперативные данные МСП Банка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664229" y="7743623"/>
            <a:ext cx="12035100" cy="54606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>
              <a:defRPr/>
            </a:pPr>
            <a:r>
              <a:rPr lang="ru-RU" sz="20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В Программе 6,5 участвует 39 уполномоченных банков-партнеров Корпорации МСП</a:t>
            </a:r>
            <a:endParaRPr lang="ru-RU" sz="20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558131" y="890236"/>
            <a:ext cx="121539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16 сентября 2016 года Банк России принял решение об увеличении лимита Программы 6,5 с 75 до 125 млрд руб. </a:t>
            </a:r>
          </a:p>
          <a:p>
            <a:pPr lvl="0" algn="ctr">
              <a:defRPr/>
            </a:pP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с последующим увеличением до 175 млрд руб. при условии существенного расширения круга банков-участников.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3298107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889000">
              <a:lnSpc>
                <a:spcPct val="80000"/>
              </a:lnSpc>
              <a:spcBef>
                <a:spcPct val="0"/>
              </a:spcBef>
            </a:pPr>
            <a:r>
              <a:rPr lang="ru-RU" sz="1200" dirty="0" smtClean="0">
                <a:latin typeface="Arial Narrow" panose="020B0606020202030204" pitchFamily="34" charset="0"/>
              </a:rPr>
              <a:t>9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1662907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1553891" y="6519401"/>
            <a:ext cx="1216108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 algn="just">
              <a:spcBef>
                <a:spcPts val="200"/>
              </a:spcBef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трасли экономики, в которых реализуются приоритетные направления развития науки, технологий и техники в РФ, а также критические технологии РФ, перечень которых утвержден Указом Президента РФ от 07.07.2011 №899 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».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49931" y="54868"/>
            <a:ext cx="1549399" cy="77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521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9262</TotalTime>
  <Words>2265</Words>
  <Application>Microsoft Office PowerPoint</Application>
  <PresentationFormat>Произвольный</PresentationFormat>
  <Paragraphs>392</Paragraphs>
  <Slides>16</Slides>
  <Notes>7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6" baseType="lpstr">
      <vt:lpstr>Arial</vt:lpstr>
      <vt:lpstr>Arial Black</vt:lpstr>
      <vt:lpstr>Arial Narrow</vt:lpstr>
      <vt:lpstr>Calibri</vt:lpstr>
      <vt:lpstr>Calibri Light</vt:lpstr>
      <vt:lpstr>Georgia</vt:lpstr>
      <vt:lpstr>Times New Roman</vt:lpstr>
      <vt:lpstr>Verdana</vt:lpstr>
      <vt:lpstr>Wingdings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пасокукоцкий А.А.</dc:creator>
  <cp:lastModifiedBy>Битюкова Наталья Викторовна</cp:lastModifiedBy>
  <cp:revision>1200</cp:revision>
  <cp:lastPrinted>2017-06-14T07:37:49Z</cp:lastPrinted>
  <dcterms:created xsi:type="dcterms:W3CDTF">2015-12-16T13:43:54Z</dcterms:created>
  <dcterms:modified xsi:type="dcterms:W3CDTF">2017-06-14T07:37:56Z</dcterms:modified>
</cp:coreProperties>
</file>